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62" r:id="rId1"/>
    <p:sldMasterId id="2147483774" r:id="rId2"/>
  </p:sldMasterIdLst>
  <p:notesMasterIdLst>
    <p:notesMasterId r:id="rId20"/>
  </p:notesMasterIdLst>
  <p:sldIdLst>
    <p:sldId id="308" r:id="rId3"/>
    <p:sldId id="324" r:id="rId4"/>
    <p:sldId id="334" r:id="rId5"/>
    <p:sldId id="325" r:id="rId6"/>
    <p:sldId id="326" r:id="rId7"/>
    <p:sldId id="335" r:id="rId8"/>
    <p:sldId id="327" r:id="rId9"/>
    <p:sldId id="328" r:id="rId10"/>
    <p:sldId id="332" r:id="rId11"/>
    <p:sldId id="336" r:id="rId12"/>
    <p:sldId id="333" r:id="rId13"/>
    <p:sldId id="317" r:id="rId14"/>
    <p:sldId id="318" r:id="rId15"/>
    <p:sldId id="319" r:id="rId16"/>
    <p:sldId id="329" r:id="rId17"/>
    <p:sldId id="330" r:id="rId18"/>
    <p:sldId id="310" r:id="rId1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5E25281D-5FF8-4F61-816F-D487E8D27896}">
          <p14:sldIdLst>
            <p14:sldId id="308"/>
            <p14:sldId id="324"/>
            <p14:sldId id="334"/>
            <p14:sldId id="325"/>
            <p14:sldId id="326"/>
            <p14:sldId id="335"/>
            <p14:sldId id="327"/>
            <p14:sldId id="328"/>
            <p14:sldId id="332"/>
            <p14:sldId id="336"/>
            <p14:sldId id="333"/>
            <p14:sldId id="317"/>
            <p14:sldId id="318"/>
            <p14:sldId id="319"/>
            <p14:sldId id="329"/>
            <p14:sldId id="330"/>
          </p14:sldIdLst>
        </p14:section>
        <p14:section name="Practice" id="{B79FDC20-829F-42D2-9827-3B171D71F22D}">
          <p14:sldIdLst/>
        </p14:section>
        <p14:section name="Homework" id="{91BAE393-2B56-4B16-92A4-4DDBF09236A4}">
          <p14:sldIdLst>
            <p14:sldId id="310"/>
          </p14:sldIdLst>
        </p14:section>
        <p14:section name="Homework for higher Band score" id="{8D5EA575-07B0-4A86-84AC-934E5B565173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00"/>
    <a:srgbClr val="006698"/>
    <a:srgbClr val="CDCDCD"/>
    <a:srgbClr val="B3B3B3"/>
    <a:srgbClr val="EAAA2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471" autoAdjust="0"/>
    <p:restoredTop sz="93576" autoAdjust="0"/>
  </p:normalViewPr>
  <p:slideViewPr>
    <p:cSldViewPr snapToGrid="0">
      <p:cViewPr varScale="1">
        <p:scale>
          <a:sx n="88" d="100"/>
          <a:sy n="88" d="100"/>
        </p:scale>
        <p:origin x="427" y="6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" Type="http://schemas.openxmlformats.org/officeDocument/2006/relationships/slide" Target="slides/slide1.xml"/><Relationship Id="rId21" Type="http://schemas.openxmlformats.org/officeDocument/2006/relationships/presProps" Target="pres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7337EA0-BD15-4709-AE53-90FDD46DD63E}" type="datetimeFigureOut">
              <a:rPr lang="en-US" smtClean="0"/>
              <a:t>3/15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1195D0C-77AA-471B-A87E-90E582EF06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51031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eform 6" title="scalloped circle"/>
          <p:cNvSpPr/>
          <p:nvPr/>
        </p:nvSpPr>
        <p:spPr bwMode="auto">
          <a:xfrm>
            <a:off x="3557016" y="630936"/>
            <a:ext cx="5235575" cy="5229225"/>
          </a:xfrm>
          <a:custGeom>
            <a:avLst/>
            <a:gdLst/>
            <a:ahLst/>
            <a:cxnLst/>
            <a:rect l="0" t="0" r="r" b="b"/>
            <a:pathLst>
              <a:path w="3298" h="3294">
                <a:moveTo>
                  <a:pt x="1649" y="0"/>
                </a:moveTo>
                <a:lnTo>
                  <a:pt x="1681" y="3"/>
                </a:lnTo>
                <a:lnTo>
                  <a:pt x="1712" y="11"/>
                </a:lnTo>
                <a:lnTo>
                  <a:pt x="1742" y="23"/>
                </a:lnTo>
                <a:lnTo>
                  <a:pt x="1773" y="38"/>
                </a:lnTo>
                <a:lnTo>
                  <a:pt x="1802" y="55"/>
                </a:lnTo>
                <a:lnTo>
                  <a:pt x="1832" y="73"/>
                </a:lnTo>
                <a:lnTo>
                  <a:pt x="1862" y="89"/>
                </a:lnTo>
                <a:lnTo>
                  <a:pt x="1892" y="105"/>
                </a:lnTo>
                <a:lnTo>
                  <a:pt x="1921" y="117"/>
                </a:lnTo>
                <a:lnTo>
                  <a:pt x="1953" y="125"/>
                </a:lnTo>
                <a:lnTo>
                  <a:pt x="1984" y="129"/>
                </a:lnTo>
                <a:lnTo>
                  <a:pt x="2017" y="129"/>
                </a:lnTo>
                <a:lnTo>
                  <a:pt x="2051" y="127"/>
                </a:lnTo>
                <a:lnTo>
                  <a:pt x="2085" y="123"/>
                </a:lnTo>
                <a:lnTo>
                  <a:pt x="2119" y="118"/>
                </a:lnTo>
                <a:lnTo>
                  <a:pt x="2153" y="114"/>
                </a:lnTo>
                <a:lnTo>
                  <a:pt x="2187" y="111"/>
                </a:lnTo>
                <a:lnTo>
                  <a:pt x="2219" y="112"/>
                </a:lnTo>
                <a:lnTo>
                  <a:pt x="2250" y="116"/>
                </a:lnTo>
                <a:lnTo>
                  <a:pt x="2280" y="125"/>
                </a:lnTo>
                <a:lnTo>
                  <a:pt x="2305" y="138"/>
                </a:lnTo>
                <a:lnTo>
                  <a:pt x="2329" y="155"/>
                </a:lnTo>
                <a:lnTo>
                  <a:pt x="2350" y="175"/>
                </a:lnTo>
                <a:lnTo>
                  <a:pt x="2371" y="198"/>
                </a:lnTo>
                <a:lnTo>
                  <a:pt x="2390" y="222"/>
                </a:lnTo>
                <a:lnTo>
                  <a:pt x="2409" y="247"/>
                </a:lnTo>
                <a:lnTo>
                  <a:pt x="2428" y="272"/>
                </a:lnTo>
                <a:lnTo>
                  <a:pt x="2447" y="296"/>
                </a:lnTo>
                <a:lnTo>
                  <a:pt x="2467" y="319"/>
                </a:lnTo>
                <a:lnTo>
                  <a:pt x="2490" y="339"/>
                </a:lnTo>
                <a:lnTo>
                  <a:pt x="2512" y="357"/>
                </a:lnTo>
                <a:lnTo>
                  <a:pt x="2537" y="371"/>
                </a:lnTo>
                <a:lnTo>
                  <a:pt x="2564" y="383"/>
                </a:lnTo>
                <a:lnTo>
                  <a:pt x="2593" y="393"/>
                </a:lnTo>
                <a:lnTo>
                  <a:pt x="2623" y="402"/>
                </a:lnTo>
                <a:lnTo>
                  <a:pt x="2653" y="410"/>
                </a:lnTo>
                <a:lnTo>
                  <a:pt x="2684" y="418"/>
                </a:lnTo>
                <a:lnTo>
                  <a:pt x="2713" y="427"/>
                </a:lnTo>
                <a:lnTo>
                  <a:pt x="2742" y="437"/>
                </a:lnTo>
                <a:lnTo>
                  <a:pt x="2769" y="449"/>
                </a:lnTo>
                <a:lnTo>
                  <a:pt x="2793" y="464"/>
                </a:lnTo>
                <a:lnTo>
                  <a:pt x="2815" y="482"/>
                </a:lnTo>
                <a:lnTo>
                  <a:pt x="2833" y="504"/>
                </a:lnTo>
                <a:lnTo>
                  <a:pt x="2848" y="528"/>
                </a:lnTo>
                <a:lnTo>
                  <a:pt x="2860" y="555"/>
                </a:lnTo>
                <a:lnTo>
                  <a:pt x="2870" y="584"/>
                </a:lnTo>
                <a:lnTo>
                  <a:pt x="2879" y="613"/>
                </a:lnTo>
                <a:lnTo>
                  <a:pt x="2887" y="644"/>
                </a:lnTo>
                <a:lnTo>
                  <a:pt x="2895" y="674"/>
                </a:lnTo>
                <a:lnTo>
                  <a:pt x="2904" y="704"/>
                </a:lnTo>
                <a:lnTo>
                  <a:pt x="2914" y="733"/>
                </a:lnTo>
                <a:lnTo>
                  <a:pt x="2926" y="760"/>
                </a:lnTo>
                <a:lnTo>
                  <a:pt x="2940" y="785"/>
                </a:lnTo>
                <a:lnTo>
                  <a:pt x="2958" y="807"/>
                </a:lnTo>
                <a:lnTo>
                  <a:pt x="2978" y="830"/>
                </a:lnTo>
                <a:lnTo>
                  <a:pt x="3001" y="850"/>
                </a:lnTo>
                <a:lnTo>
                  <a:pt x="3025" y="869"/>
                </a:lnTo>
                <a:lnTo>
                  <a:pt x="3051" y="888"/>
                </a:lnTo>
                <a:lnTo>
                  <a:pt x="3076" y="907"/>
                </a:lnTo>
                <a:lnTo>
                  <a:pt x="3100" y="926"/>
                </a:lnTo>
                <a:lnTo>
                  <a:pt x="3123" y="947"/>
                </a:lnTo>
                <a:lnTo>
                  <a:pt x="3143" y="968"/>
                </a:lnTo>
                <a:lnTo>
                  <a:pt x="3160" y="992"/>
                </a:lnTo>
                <a:lnTo>
                  <a:pt x="3173" y="1017"/>
                </a:lnTo>
                <a:lnTo>
                  <a:pt x="3182" y="1047"/>
                </a:lnTo>
                <a:lnTo>
                  <a:pt x="3186" y="1078"/>
                </a:lnTo>
                <a:lnTo>
                  <a:pt x="3187" y="1110"/>
                </a:lnTo>
                <a:lnTo>
                  <a:pt x="3184" y="1144"/>
                </a:lnTo>
                <a:lnTo>
                  <a:pt x="3180" y="1178"/>
                </a:lnTo>
                <a:lnTo>
                  <a:pt x="3175" y="1212"/>
                </a:lnTo>
                <a:lnTo>
                  <a:pt x="3171" y="1246"/>
                </a:lnTo>
                <a:lnTo>
                  <a:pt x="3169" y="1280"/>
                </a:lnTo>
                <a:lnTo>
                  <a:pt x="3169" y="1313"/>
                </a:lnTo>
                <a:lnTo>
                  <a:pt x="3173" y="1344"/>
                </a:lnTo>
                <a:lnTo>
                  <a:pt x="3181" y="1375"/>
                </a:lnTo>
                <a:lnTo>
                  <a:pt x="3193" y="1404"/>
                </a:lnTo>
                <a:lnTo>
                  <a:pt x="3209" y="1434"/>
                </a:lnTo>
                <a:lnTo>
                  <a:pt x="3225" y="1464"/>
                </a:lnTo>
                <a:lnTo>
                  <a:pt x="3243" y="1494"/>
                </a:lnTo>
                <a:lnTo>
                  <a:pt x="3260" y="1523"/>
                </a:lnTo>
                <a:lnTo>
                  <a:pt x="3275" y="1554"/>
                </a:lnTo>
                <a:lnTo>
                  <a:pt x="3287" y="1584"/>
                </a:lnTo>
                <a:lnTo>
                  <a:pt x="3295" y="1615"/>
                </a:lnTo>
                <a:lnTo>
                  <a:pt x="3298" y="1647"/>
                </a:lnTo>
                <a:lnTo>
                  <a:pt x="3295" y="1679"/>
                </a:lnTo>
                <a:lnTo>
                  <a:pt x="3287" y="1710"/>
                </a:lnTo>
                <a:lnTo>
                  <a:pt x="3275" y="1740"/>
                </a:lnTo>
                <a:lnTo>
                  <a:pt x="3260" y="1771"/>
                </a:lnTo>
                <a:lnTo>
                  <a:pt x="3243" y="1800"/>
                </a:lnTo>
                <a:lnTo>
                  <a:pt x="3225" y="1830"/>
                </a:lnTo>
                <a:lnTo>
                  <a:pt x="3209" y="1860"/>
                </a:lnTo>
                <a:lnTo>
                  <a:pt x="3193" y="1890"/>
                </a:lnTo>
                <a:lnTo>
                  <a:pt x="3181" y="1919"/>
                </a:lnTo>
                <a:lnTo>
                  <a:pt x="3173" y="1950"/>
                </a:lnTo>
                <a:lnTo>
                  <a:pt x="3169" y="1981"/>
                </a:lnTo>
                <a:lnTo>
                  <a:pt x="3169" y="2014"/>
                </a:lnTo>
                <a:lnTo>
                  <a:pt x="3171" y="2048"/>
                </a:lnTo>
                <a:lnTo>
                  <a:pt x="3175" y="2082"/>
                </a:lnTo>
                <a:lnTo>
                  <a:pt x="3180" y="2116"/>
                </a:lnTo>
                <a:lnTo>
                  <a:pt x="3184" y="2150"/>
                </a:lnTo>
                <a:lnTo>
                  <a:pt x="3187" y="2184"/>
                </a:lnTo>
                <a:lnTo>
                  <a:pt x="3186" y="2216"/>
                </a:lnTo>
                <a:lnTo>
                  <a:pt x="3182" y="2247"/>
                </a:lnTo>
                <a:lnTo>
                  <a:pt x="3173" y="2277"/>
                </a:lnTo>
                <a:lnTo>
                  <a:pt x="3160" y="2302"/>
                </a:lnTo>
                <a:lnTo>
                  <a:pt x="3143" y="2326"/>
                </a:lnTo>
                <a:lnTo>
                  <a:pt x="3123" y="2347"/>
                </a:lnTo>
                <a:lnTo>
                  <a:pt x="3100" y="2368"/>
                </a:lnTo>
                <a:lnTo>
                  <a:pt x="3076" y="2387"/>
                </a:lnTo>
                <a:lnTo>
                  <a:pt x="3051" y="2406"/>
                </a:lnTo>
                <a:lnTo>
                  <a:pt x="3025" y="2425"/>
                </a:lnTo>
                <a:lnTo>
                  <a:pt x="3001" y="2444"/>
                </a:lnTo>
                <a:lnTo>
                  <a:pt x="2978" y="2464"/>
                </a:lnTo>
                <a:lnTo>
                  <a:pt x="2958" y="2487"/>
                </a:lnTo>
                <a:lnTo>
                  <a:pt x="2940" y="2509"/>
                </a:lnTo>
                <a:lnTo>
                  <a:pt x="2926" y="2534"/>
                </a:lnTo>
                <a:lnTo>
                  <a:pt x="2914" y="2561"/>
                </a:lnTo>
                <a:lnTo>
                  <a:pt x="2904" y="2590"/>
                </a:lnTo>
                <a:lnTo>
                  <a:pt x="2895" y="2620"/>
                </a:lnTo>
                <a:lnTo>
                  <a:pt x="2887" y="2650"/>
                </a:lnTo>
                <a:lnTo>
                  <a:pt x="2879" y="2681"/>
                </a:lnTo>
                <a:lnTo>
                  <a:pt x="2870" y="2710"/>
                </a:lnTo>
                <a:lnTo>
                  <a:pt x="2860" y="2739"/>
                </a:lnTo>
                <a:lnTo>
                  <a:pt x="2848" y="2766"/>
                </a:lnTo>
                <a:lnTo>
                  <a:pt x="2833" y="2790"/>
                </a:lnTo>
                <a:lnTo>
                  <a:pt x="2815" y="2812"/>
                </a:lnTo>
                <a:lnTo>
                  <a:pt x="2793" y="2830"/>
                </a:lnTo>
                <a:lnTo>
                  <a:pt x="2769" y="2845"/>
                </a:lnTo>
                <a:lnTo>
                  <a:pt x="2742" y="2857"/>
                </a:lnTo>
                <a:lnTo>
                  <a:pt x="2713" y="2867"/>
                </a:lnTo>
                <a:lnTo>
                  <a:pt x="2684" y="2876"/>
                </a:lnTo>
                <a:lnTo>
                  <a:pt x="2653" y="2884"/>
                </a:lnTo>
                <a:lnTo>
                  <a:pt x="2623" y="2892"/>
                </a:lnTo>
                <a:lnTo>
                  <a:pt x="2593" y="2901"/>
                </a:lnTo>
                <a:lnTo>
                  <a:pt x="2564" y="2911"/>
                </a:lnTo>
                <a:lnTo>
                  <a:pt x="2537" y="2923"/>
                </a:lnTo>
                <a:lnTo>
                  <a:pt x="2512" y="2937"/>
                </a:lnTo>
                <a:lnTo>
                  <a:pt x="2490" y="2955"/>
                </a:lnTo>
                <a:lnTo>
                  <a:pt x="2467" y="2975"/>
                </a:lnTo>
                <a:lnTo>
                  <a:pt x="2447" y="2998"/>
                </a:lnTo>
                <a:lnTo>
                  <a:pt x="2428" y="3022"/>
                </a:lnTo>
                <a:lnTo>
                  <a:pt x="2409" y="3047"/>
                </a:lnTo>
                <a:lnTo>
                  <a:pt x="2390" y="3072"/>
                </a:lnTo>
                <a:lnTo>
                  <a:pt x="2371" y="3096"/>
                </a:lnTo>
                <a:lnTo>
                  <a:pt x="2350" y="3119"/>
                </a:lnTo>
                <a:lnTo>
                  <a:pt x="2329" y="3139"/>
                </a:lnTo>
                <a:lnTo>
                  <a:pt x="2305" y="3156"/>
                </a:lnTo>
                <a:lnTo>
                  <a:pt x="2280" y="3169"/>
                </a:lnTo>
                <a:lnTo>
                  <a:pt x="2250" y="3178"/>
                </a:lnTo>
                <a:lnTo>
                  <a:pt x="2219" y="3182"/>
                </a:lnTo>
                <a:lnTo>
                  <a:pt x="2187" y="3183"/>
                </a:lnTo>
                <a:lnTo>
                  <a:pt x="2153" y="3180"/>
                </a:lnTo>
                <a:lnTo>
                  <a:pt x="2119" y="3176"/>
                </a:lnTo>
                <a:lnTo>
                  <a:pt x="2085" y="3171"/>
                </a:lnTo>
                <a:lnTo>
                  <a:pt x="2051" y="3167"/>
                </a:lnTo>
                <a:lnTo>
                  <a:pt x="2017" y="3165"/>
                </a:lnTo>
                <a:lnTo>
                  <a:pt x="1984" y="3165"/>
                </a:lnTo>
                <a:lnTo>
                  <a:pt x="1953" y="3169"/>
                </a:lnTo>
                <a:lnTo>
                  <a:pt x="1921" y="3177"/>
                </a:lnTo>
                <a:lnTo>
                  <a:pt x="1892" y="3189"/>
                </a:lnTo>
                <a:lnTo>
                  <a:pt x="1862" y="3205"/>
                </a:lnTo>
                <a:lnTo>
                  <a:pt x="1832" y="3221"/>
                </a:lnTo>
                <a:lnTo>
                  <a:pt x="1802" y="3239"/>
                </a:lnTo>
                <a:lnTo>
                  <a:pt x="1773" y="3256"/>
                </a:lnTo>
                <a:lnTo>
                  <a:pt x="1742" y="3271"/>
                </a:lnTo>
                <a:lnTo>
                  <a:pt x="1712" y="3283"/>
                </a:lnTo>
                <a:lnTo>
                  <a:pt x="1681" y="3291"/>
                </a:lnTo>
                <a:lnTo>
                  <a:pt x="1649" y="3294"/>
                </a:lnTo>
                <a:lnTo>
                  <a:pt x="1617" y="3291"/>
                </a:lnTo>
                <a:lnTo>
                  <a:pt x="1586" y="3283"/>
                </a:lnTo>
                <a:lnTo>
                  <a:pt x="1556" y="3271"/>
                </a:lnTo>
                <a:lnTo>
                  <a:pt x="1525" y="3256"/>
                </a:lnTo>
                <a:lnTo>
                  <a:pt x="1496" y="3239"/>
                </a:lnTo>
                <a:lnTo>
                  <a:pt x="1466" y="3221"/>
                </a:lnTo>
                <a:lnTo>
                  <a:pt x="1436" y="3205"/>
                </a:lnTo>
                <a:lnTo>
                  <a:pt x="1406" y="3189"/>
                </a:lnTo>
                <a:lnTo>
                  <a:pt x="1376" y="3177"/>
                </a:lnTo>
                <a:lnTo>
                  <a:pt x="1345" y="3169"/>
                </a:lnTo>
                <a:lnTo>
                  <a:pt x="1314" y="3165"/>
                </a:lnTo>
                <a:lnTo>
                  <a:pt x="1281" y="3165"/>
                </a:lnTo>
                <a:lnTo>
                  <a:pt x="1247" y="3167"/>
                </a:lnTo>
                <a:lnTo>
                  <a:pt x="1213" y="3171"/>
                </a:lnTo>
                <a:lnTo>
                  <a:pt x="1179" y="3176"/>
                </a:lnTo>
                <a:lnTo>
                  <a:pt x="1145" y="3180"/>
                </a:lnTo>
                <a:lnTo>
                  <a:pt x="1111" y="3183"/>
                </a:lnTo>
                <a:lnTo>
                  <a:pt x="1079" y="3182"/>
                </a:lnTo>
                <a:lnTo>
                  <a:pt x="1048" y="3178"/>
                </a:lnTo>
                <a:lnTo>
                  <a:pt x="1018" y="3169"/>
                </a:lnTo>
                <a:lnTo>
                  <a:pt x="993" y="3156"/>
                </a:lnTo>
                <a:lnTo>
                  <a:pt x="969" y="3139"/>
                </a:lnTo>
                <a:lnTo>
                  <a:pt x="948" y="3119"/>
                </a:lnTo>
                <a:lnTo>
                  <a:pt x="927" y="3096"/>
                </a:lnTo>
                <a:lnTo>
                  <a:pt x="908" y="3072"/>
                </a:lnTo>
                <a:lnTo>
                  <a:pt x="889" y="3047"/>
                </a:lnTo>
                <a:lnTo>
                  <a:pt x="870" y="3022"/>
                </a:lnTo>
                <a:lnTo>
                  <a:pt x="851" y="2998"/>
                </a:lnTo>
                <a:lnTo>
                  <a:pt x="831" y="2975"/>
                </a:lnTo>
                <a:lnTo>
                  <a:pt x="808" y="2955"/>
                </a:lnTo>
                <a:lnTo>
                  <a:pt x="786" y="2937"/>
                </a:lnTo>
                <a:lnTo>
                  <a:pt x="761" y="2923"/>
                </a:lnTo>
                <a:lnTo>
                  <a:pt x="734" y="2911"/>
                </a:lnTo>
                <a:lnTo>
                  <a:pt x="705" y="2901"/>
                </a:lnTo>
                <a:lnTo>
                  <a:pt x="675" y="2892"/>
                </a:lnTo>
                <a:lnTo>
                  <a:pt x="645" y="2884"/>
                </a:lnTo>
                <a:lnTo>
                  <a:pt x="614" y="2876"/>
                </a:lnTo>
                <a:lnTo>
                  <a:pt x="585" y="2867"/>
                </a:lnTo>
                <a:lnTo>
                  <a:pt x="556" y="2857"/>
                </a:lnTo>
                <a:lnTo>
                  <a:pt x="529" y="2845"/>
                </a:lnTo>
                <a:lnTo>
                  <a:pt x="505" y="2830"/>
                </a:lnTo>
                <a:lnTo>
                  <a:pt x="483" y="2812"/>
                </a:lnTo>
                <a:lnTo>
                  <a:pt x="465" y="2790"/>
                </a:lnTo>
                <a:lnTo>
                  <a:pt x="450" y="2766"/>
                </a:lnTo>
                <a:lnTo>
                  <a:pt x="438" y="2739"/>
                </a:lnTo>
                <a:lnTo>
                  <a:pt x="428" y="2710"/>
                </a:lnTo>
                <a:lnTo>
                  <a:pt x="419" y="2681"/>
                </a:lnTo>
                <a:lnTo>
                  <a:pt x="411" y="2650"/>
                </a:lnTo>
                <a:lnTo>
                  <a:pt x="403" y="2620"/>
                </a:lnTo>
                <a:lnTo>
                  <a:pt x="394" y="2590"/>
                </a:lnTo>
                <a:lnTo>
                  <a:pt x="384" y="2561"/>
                </a:lnTo>
                <a:lnTo>
                  <a:pt x="372" y="2534"/>
                </a:lnTo>
                <a:lnTo>
                  <a:pt x="358" y="2509"/>
                </a:lnTo>
                <a:lnTo>
                  <a:pt x="340" y="2487"/>
                </a:lnTo>
                <a:lnTo>
                  <a:pt x="320" y="2464"/>
                </a:lnTo>
                <a:lnTo>
                  <a:pt x="297" y="2444"/>
                </a:lnTo>
                <a:lnTo>
                  <a:pt x="272" y="2425"/>
                </a:lnTo>
                <a:lnTo>
                  <a:pt x="247" y="2406"/>
                </a:lnTo>
                <a:lnTo>
                  <a:pt x="222" y="2387"/>
                </a:lnTo>
                <a:lnTo>
                  <a:pt x="198" y="2368"/>
                </a:lnTo>
                <a:lnTo>
                  <a:pt x="175" y="2347"/>
                </a:lnTo>
                <a:lnTo>
                  <a:pt x="155" y="2326"/>
                </a:lnTo>
                <a:lnTo>
                  <a:pt x="138" y="2302"/>
                </a:lnTo>
                <a:lnTo>
                  <a:pt x="125" y="2277"/>
                </a:lnTo>
                <a:lnTo>
                  <a:pt x="116" y="2247"/>
                </a:lnTo>
                <a:lnTo>
                  <a:pt x="112" y="2216"/>
                </a:lnTo>
                <a:lnTo>
                  <a:pt x="111" y="2184"/>
                </a:lnTo>
                <a:lnTo>
                  <a:pt x="114" y="2150"/>
                </a:lnTo>
                <a:lnTo>
                  <a:pt x="118" y="2116"/>
                </a:lnTo>
                <a:lnTo>
                  <a:pt x="123" y="2082"/>
                </a:lnTo>
                <a:lnTo>
                  <a:pt x="127" y="2048"/>
                </a:lnTo>
                <a:lnTo>
                  <a:pt x="129" y="2014"/>
                </a:lnTo>
                <a:lnTo>
                  <a:pt x="129" y="1981"/>
                </a:lnTo>
                <a:lnTo>
                  <a:pt x="125" y="1950"/>
                </a:lnTo>
                <a:lnTo>
                  <a:pt x="117" y="1919"/>
                </a:lnTo>
                <a:lnTo>
                  <a:pt x="105" y="1890"/>
                </a:lnTo>
                <a:lnTo>
                  <a:pt x="90" y="1860"/>
                </a:lnTo>
                <a:lnTo>
                  <a:pt x="73" y="1830"/>
                </a:lnTo>
                <a:lnTo>
                  <a:pt x="55" y="1800"/>
                </a:lnTo>
                <a:lnTo>
                  <a:pt x="38" y="1771"/>
                </a:lnTo>
                <a:lnTo>
                  <a:pt x="23" y="1740"/>
                </a:lnTo>
                <a:lnTo>
                  <a:pt x="11" y="1710"/>
                </a:lnTo>
                <a:lnTo>
                  <a:pt x="3" y="1679"/>
                </a:lnTo>
                <a:lnTo>
                  <a:pt x="0" y="1647"/>
                </a:lnTo>
                <a:lnTo>
                  <a:pt x="3" y="1615"/>
                </a:lnTo>
                <a:lnTo>
                  <a:pt x="11" y="1584"/>
                </a:lnTo>
                <a:lnTo>
                  <a:pt x="23" y="1554"/>
                </a:lnTo>
                <a:lnTo>
                  <a:pt x="38" y="1523"/>
                </a:lnTo>
                <a:lnTo>
                  <a:pt x="55" y="1494"/>
                </a:lnTo>
                <a:lnTo>
                  <a:pt x="73" y="1464"/>
                </a:lnTo>
                <a:lnTo>
                  <a:pt x="90" y="1434"/>
                </a:lnTo>
                <a:lnTo>
                  <a:pt x="105" y="1404"/>
                </a:lnTo>
                <a:lnTo>
                  <a:pt x="117" y="1375"/>
                </a:lnTo>
                <a:lnTo>
                  <a:pt x="125" y="1344"/>
                </a:lnTo>
                <a:lnTo>
                  <a:pt x="129" y="1313"/>
                </a:lnTo>
                <a:lnTo>
                  <a:pt x="129" y="1280"/>
                </a:lnTo>
                <a:lnTo>
                  <a:pt x="127" y="1246"/>
                </a:lnTo>
                <a:lnTo>
                  <a:pt x="123" y="1212"/>
                </a:lnTo>
                <a:lnTo>
                  <a:pt x="118" y="1178"/>
                </a:lnTo>
                <a:lnTo>
                  <a:pt x="114" y="1144"/>
                </a:lnTo>
                <a:lnTo>
                  <a:pt x="111" y="1110"/>
                </a:lnTo>
                <a:lnTo>
                  <a:pt x="112" y="1078"/>
                </a:lnTo>
                <a:lnTo>
                  <a:pt x="116" y="1047"/>
                </a:lnTo>
                <a:lnTo>
                  <a:pt x="125" y="1017"/>
                </a:lnTo>
                <a:lnTo>
                  <a:pt x="138" y="992"/>
                </a:lnTo>
                <a:lnTo>
                  <a:pt x="155" y="968"/>
                </a:lnTo>
                <a:lnTo>
                  <a:pt x="175" y="947"/>
                </a:lnTo>
                <a:lnTo>
                  <a:pt x="198" y="926"/>
                </a:lnTo>
                <a:lnTo>
                  <a:pt x="222" y="907"/>
                </a:lnTo>
                <a:lnTo>
                  <a:pt x="247" y="888"/>
                </a:lnTo>
                <a:lnTo>
                  <a:pt x="272" y="869"/>
                </a:lnTo>
                <a:lnTo>
                  <a:pt x="297" y="850"/>
                </a:lnTo>
                <a:lnTo>
                  <a:pt x="320" y="830"/>
                </a:lnTo>
                <a:lnTo>
                  <a:pt x="340" y="807"/>
                </a:lnTo>
                <a:lnTo>
                  <a:pt x="358" y="785"/>
                </a:lnTo>
                <a:lnTo>
                  <a:pt x="372" y="760"/>
                </a:lnTo>
                <a:lnTo>
                  <a:pt x="384" y="733"/>
                </a:lnTo>
                <a:lnTo>
                  <a:pt x="394" y="704"/>
                </a:lnTo>
                <a:lnTo>
                  <a:pt x="403" y="674"/>
                </a:lnTo>
                <a:lnTo>
                  <a:pt x="411" y="644"/>
                </a:lnTo>
                <a:lnTo>
                  <a:pt x="419" y="613"/>
                </a:lnTo>
                <a:lnTo>
                  <a:pt x="428" y="584"/>
                </a:lnTo>
                <a:lnTo>
                  <a:pt x="438" y="555"/>
                </a:lnTo>
                <a:lnTo>
                  <a:pt x="450" y="528"/>
                </a:lnTo>
                <a:lnTo>
                  <a:pt x="465" y="504"/>
                </a:lnTo>
                <a:lnTo>
                  <a:pt x="483" y="482"/>
                </a:lnTo>
                <a:lnTo>
                  <a:pt x="505" y="464"/>
                </a:lnTo>
                <a:lnTo>
                  <a:pt x="529" y="449"/>
                </a:lnTo>
                <a:lnTo>
                  <a:pt x="556" y="437"/>
                </a:lnTo>
                <a:lnTo>
                  <a:pt x="585" y="427"/>
                </a:lnTo>
                <a:lnTo>
                  <a:pt x="614" y="418"/>
                </a:lnTo>
                <a:lnTo>
                  <a:pt x="645" y="410"/>
                </a:lnTo>
                <a:lnTo>
                  <a:pt x="675" y="402"/>
                </a:lnTo>
                <a:lnTo>
                  <a:pt x="705" y="393"/>
                </a:lnTo>
                <a:lnTo>
                  <a:pt x="734" y="383"/>
                </a:lnTo>
                <a:lnTo>
                  <a:pt x="761" y="371"/>
                </a:lnTo>
                <a:lnTo>
                  <a:pt x="786" y="357"/>
                </a:lnTo>
                <a:lnTo>
                  <a:pt x="808" y="339"/>
                </a:lnTo>
                <a:lnTo>
                  <a:pt x="831" y="319"/>
                </a:lnTo>
                <a:lnTo>
                  <a:pt x="851" y="296"/>
                </a:lnTo>
                <a:lnTo>
                  <a:pt x="870" y="272"/>
                </a:lnTo>
                <a:lnTo>
                  <a:pt x="889" y="247"/>
                </a:lnTo>
                <a:lnTo>
                  <a:pt x="908" y="222"/>
                </a:lnTo>
                <a:lnTo>
                  <a:pt x="927" y="198"/>
                </a:lnTo>
                <a:lnTo>
                  <a:pt x="948" y="175"/>
                </a:lnTo>
                <a:lnTo>
                  <a:pt x="969" y="155"/>
                </a:lnTo>
                <a:lnTo>
                  <a:pt x="993" y="138"/>
                </a:lnTo>
                <a:lnTo>
                  <a:pt x="1018" y="125"/>
                </a:lnTo>
                <a:lnTo>
                  <a:pt x="1048" y="116"/>
                </a:lnTo>
                <a:lnTo>
                  <a:pt x="1079" y="112"/>
                </a:lnTo>
                <a:lnTo>
                  <a:pt x="1111" y="111"/>
                </a:lnTo>
                <a:lnTo>
                  <a:pt x="1145" y="114"/>
                </a:lnTo>
                <a:lnTo>
                  <a:pt x="1179" y="118"/>
                </a:lnTo>
                <a:lnTo>
                  <a:pt x="1213" y="123"/>
                </a:lnTo>
                <a:lnTo>
                  <a:pt x="1247" y="127"/>
                </a:lnTo>
                <a:lnTo>
                  <a:pt x="1281" y="129"/>
                </a:lnTo>
                <a:lnTo>
                  <a:pt x="1314" y="129"/>
                </a:lnTo>
                <a:lnTo>
                  <a:pt x="1345" y="125"/>
                </a:lnTo>
                <a:lnTo>
                  <a:pt x="1376" y="117"/>
                </a:lnTo>
                <a:lnTo>
                  <a:pt x="1406" y="105"/>
                </a:lnTo>
                <a:lnTo>
                  <a:pt x="1436" y="89"/>
                </a:lnTo>
                <a:lnTo>
                  <a:pt x="1466" y="73"/>
                </a:lnTo>
                <a:lnTo>
                  <a:pt x="1496" y="55"/>
                </a:lnTo>
                <a:lnTo>
                  <a:pt x="1525" y="38"/>
                </a:lnTo>
                <a:lnTo>
                  <a:pt x="1556" y="23"/>
                </a:lnTo>
                <a:lnTo>
                  <a:pt x="1586" y="11"/>
                </a:lnTo>
                <a:lnTo>
                  <a:pt x="1617" y="3"/>
                </a:lnTo>
                <a:lnTo>
                  <a:pt x="1649" y="0"/>
                </a:lnTo>
                <a:close/>
              </a:path>
            </a:pathLst>
          </a:custGeom>
          <a:solidFill>
            <a:schemeClr val="bg2"/>
          </a:solidFill>
          <a:ln w="0">
            <a:noFill/>
            <a:prstDash val="solid"/>
            <a:round/>
            <a:headEnd/>
            <a:tailEnd/>
          </a:ln>
        </p:spPr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78523" y="1098388"/>
            <a:ext cx="10318418" cy="4394988"/>
          </a:xfrm>
        </p:spPr>
        <p:txBody>
          <a:bodyPr anchor="ctr">
            <a:noAutofit/>
          </a:bodyPr>
          <a:lstStyle>
            <a:lvl1pPr algn="ctr">
              <a:defRPr sz="10000" spc="80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215045" y="5979196"/>
            <a:ext cx="8045373" cy="74227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000" b="1" i="0" cap="all" spc="400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078523" y="6375679"/>
            <a:ext cx="2329722" cy="348462"/>
          </a:xfrm>
        </p:spPr>
        <p:txBody>
          <a:bodyPr/>
          <a:lstStyle>
            <a:lvl1pPr>
              <a:defRPr baseline="0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fld id="{3275B310-5023-4FF0-84B1-D829AC3B2B29}" type="datetimeFigureOut">
              <a:rPr lang="en-US" smtClean="0">
                <a:solidFill>
                  <a:srgbClr val="FFC000">
                    <a:lumMod val="50000"/>
                  </a:srgbClr>
                </a:solidFill>
              </a:rPr>
              <a:pPr/>
              <a:t>3/15/2023</a:t>
            </a:fld>
            <a:endParaRPr lang="en-US">
              <a:solidFill>
                <a:srgbClr val="FFC000">
                  <a:lumMod val="5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80332" y="6375679"/>
            <a:ext cx="4114800" cy="345796"/>
          </a:xfrm>
        </p:spPr>
        <p:txBody>
          <a:bodyPr/>
          <a:lstStyle>
            <a:lvl1pPr>
              <a:defRPr baseline="0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endParaRPr lang="en-US">
              <a:solidFill>
                <a:srgbClr val="FFC000">
                  <a:lumMod val="5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067218" y="6375679"/>
            <a:ext cx="2329723" cy="345796"/>
          </a:xfrm>
        </p:spPr>
        <p:txBody>
          <a:bodyPr/>
          <a:lstStyle>
            <a:lvl1pPr>
              <a:defRPr baseline="0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fld id="{D9CB10C4-4CE0-4D71-9C85-A411492A1E37}" type="slidenum">
              <a:rPr lang="en-US" smtClean="0">
                <a:solidFill>
                  <a:srgbClr val="FFC000">
                    <a:lumMod val="50000"/>
                  </a:srgbClr>
                </a:solidFill>
              </a:rPr>
              <a:pPr/>
              <a:t>‹#›</a:t>
            </a:fld>
            <a:endParaRPr lang="en-US">
              <a:solidFill>
                <a:srgbClr val="FFC000">
                  <a:lumMod val="50000"/>
                </a:srgbClr>
              </a:solidFill>
            </a:endParaRPr>
          </a:p>
        </p:txBody>
      </p:sp>
      <p:sp>
        <p:nvSpPr>
          <p:cNvPr id="13" name="Rectangle 12" title="left edge border"/>
          <p:cNvSpPr/>
          <p:nvPr/>
        </p:nvSpPr>
        <p:spPr>
          <a:xfrm>
            <a:off x="0" y="0"/>
            <a:ext cx="283464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</p:spTree>
    <p:extLst>
      <p:ext uri="{BB962C8B-B14F-4D97-AF65-F5344CB8AC3E}">
        <p14:creationId xmlns:p14="http://schemas.microsoft.com/office/powerpoint/2010/main" val="31374205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75B310-5023-4FF0-84B1-D829AC3B2B29}" type="datetimeFigureOut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3/15/2023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CB10C4-4CE0-4D71-9C85-A411492A1E37}" type="slidenum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‹#›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400277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0066321" y="382386"/>
            <a:ext cx="1492132" cy="5600404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257300" y="382385"/>
            <a:ext cx="8392585" cy="560040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75B310-5023-4FF0-84B1-D829AC3B2B29}" type="datetimeFigureOut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3/15/2023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CB10C4-4CE0-4D71-9C85-A411492A1E37}" type="slidenum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‹#›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509467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eform 6" title="scalloped circle"/>
          <p:cNvSpPr/>
          <p:nvPr/>
        </p:nvSpPr>
        <p:spPr bwMode="auto">
          <a:xfrm>
            <a:off x="3557016" y="630936"/>
            <a:ext cx="5235575" cy="5229225"/>
          </a:xfrm>
          <a:custGeom>
            <a:avLst/>
            <a:gdLst/>
            <a:ahLst/>
            <a:cxnLst/>
            <a:rect l="0" t="0" r="r" b="b"/>
            <a:pathLst>
              <a:path w="3298" h="3294">
                <a:moveTo>
                  <a:pt x="1649" y="0"/>
                </a:moveTo>
                <a:lnTo>
                  <a:pt x="1681" y="3"/>
                </a:lnTo>
                <a:lnTo>
                  <a:pt x="1712" y="11"/>
                </a:lnTo>
                <a:lnTo>
                  <a:pt x="1742" y="23"/>
                </a:lnTo>
                <a:lnTo>
                  <a:pt x="1773" y="38"/>
                </a:lnTo>
                <a:lnTo>
                  <a:pt x="1802" y="55"/>
                </a:lnTo>
                <a:lnTo>
                  <a:pt x="1832" y="73"/>
                </a:lnTo>
                <a:lnTo>
                  <a:pt x="1862" y="89"/>
                </a:lnTo>
                <a:lnTo>
                  <a:pt x="1892" y="105"/>
                </a:lnTo>
                <a:lnTo>
                  <a:pt x="1921" y="117"/>
                </a:lnTo>
                <a:lnTo>
                  <a:pt x="1953" y="125"/>
                </a:lnTo>
                <a:lnTo>
                  <a:pt x="1984" y="129"/>
                </a:lnTo>
                <a:lnTo>
                  <a:pt x="2017" y="129"/>
                </a:lnTo>
                <a:lnTo>
                  <a:pt x="2051" y="127"/>
                </a:lnTo>
                <a:lnTo>
                  <a:pt x="2085" y="123"/>
                </a:lnTo>
                <a:lnTo>
                  <a:pt x="2119" y="118"/>
                </a:lnTo>
                <a:lnTo>
                  <a:pt x="2153" y="114"/>
                </a:lnTo>
                <a:lnTo>
                  <a:pt x="2187" y="111"/>
                </a:lnTo>
                <a:lnTo>
                  <a:pt x="2219" y="112"/>
                </a:lnTo>
                <a:lnTo>
                  <a:pt x="2250" y="116"/>
                </a:lnTo>
                <a:lnTo>
                  <a:pt x="2280" y="125"/>
                </a:lnTo>
                <a:lnTo>
                  <a:pt x="2305" y="138"/>
                </a:lnTo>
                <a:lnTo>
                  <a:pt x="2329" y="155"/>
                </a:lnTo>
                <a:lnTo>
                  <a:pt x="2350" y="175"/>
                </a:lnTo>
                <a:lnTo>
                  <a:pt x="2371" y="198"/>
                </a:lnTo>
                <a:lnTo>
                  <a:pt x="2390" y="222"/>
                </a:lnTo>
                <a:lnTo>
                  <a:pt x="2409" y="247"/>
                </a:lnTo>
                <a:lnTo>
                  <a:pt x="2428" y="272"/>
                </a:lnTo>
                <a:lnTo>
                  <a:pt x="2447" y="296"/>
                </a:lnTo>
                <a:lnTo>
                  <a:pt x="2467" y="319"/>
                </a:lnTo>
                <a:lnTo>
                  <a:pt x="2490" y="339"/>
                </a:lnTo>
                <a:lnTo>
                  <a:pt x="2512" y="357"/>
                </a:lnTo>
                <a:lnTo>
                  <a:pt x="2537" y="371"/>
                </a:lnTo>
                <a:lnTo>
                  <a:pt x="2564" y="383"/>
                </a:lnTo>
                <a:lnTo>
                  <a:pt x="2593" y="393"/>
                </a:lnTo>
                <a:lnTo>
                  <a:pt x="2623" y="402"/>
                </a:lnTo>
                <a:lnTo>
                  <a:pt x="2653" y="410"/>
                </a:lnTo>
                <a:lnTo>
                  <a:pt x="2684" y="418"/>
                </a:lnTo>
                <a:lnTo>
                  <a:pt x="2713" y="427"/>
                </a:lnTo>
                <a:lnTo>
                  <a:pt x="2742" y="437"/>
                </a:lnTo>
                <a:lnTo>
                  <a:pt x="2769" y="449"/>
                </a:lnTo>
                <a:lnTo>
                  <a:pt x="2793" y="464"/>
                </a:lnTo>
                <a:lnTo>
                  <a:pt x="2815" y="482"/>
                </a:lnTo>
                <a:lnTo>
                  <a:pt x="2833" y="504"/>
                </a:lnTo>
                <a:lnTo>
                  <a:pt x="2848" y="528"/>
                </a:lnTo>
                <a:lnTo>
                  <a:pt x="2860" y="555"/>
                </a:lnTo>
                <a:lnTo>
                  <a:pt x="2870" y="584"/>
                </a:lnTo>
                <a:lnTo>
                  <a:pt x="2879" y="613"/>
                </a:lnTo>
                <a:lnTo>
                  <a:pt x="2887" y="644"/>
                </a:lnTo>
                <a:lnTo>
                  <a:pt x="2895" y="674"/>
                </a:lnTo>
                <a:lnTo>
                  <a:pt x="2904" y="704"/>
                </a:lnTo>
                <a:lnTo>
                  <a:pt x="2914" y="733"/>
                </a:lnTo>
                <a:lnTo>
                  <a:pt x="2926" y="760"/>
                </a:lnTo>
                <a:lnTo>
                  <a:pt x="2940" y="785"/>
                </a:lnTo>
                <a:lnTo>
                  <a:pt x="2958" y="807"/>
                </a:lnTo>
                <a:lnTo>
                  <a:pt x="2978" y="830"/>
                </a:lnTo>
                <a:lnTo>
                  <a:pt x="3001" y="850"/>
                </a:lnTo>
                <a:lnTo>
                  <a:pt x="3025" y="869"/>
                </a:lnTo>
                <a:lnTo>
                  <a:pt x="3051" y="888"/>
                </a:lnTo>
                <a:lnTo>
                  <a:pt x="3076" y="907"/>
                </a:lnTo>
                <a:lnTo>
                  <a:pt x="3100" y="926"/>
                </a:lnTo>
                <a:lnTo>
                  <a:pt x="3123" y="947"/>
                </a:lnTo>
                <a:lnTo>
                  <a:pt x="3143" y="968"/>
                </a:lnTo>
                <a:lnTo>
                  <a:pt x="3160" y="992"/>
                </a:lnTo>
                <a:lnTo>
                  <a:pt x="3173" y="1017"/>
                </a:lnTo>
                <a:lnTo>
                  <a:pt x="3182" y="1047"/>
                </a:lnTo>
                <a:lnTo>
                  <a:pt x="3186" y="1078"/>
                </a:lnTo>
                <a:lnTo>
                  <a:pt x="3187" y="1110"/>
                </a:lnTo>
                <a:lnTo>
                  <a:pt x="3184" y="1144"/>
                </a:lnTo>
                <a:lnTo>
                  <a:pt x="3180" y="1178"/>
                </a:lnTo>
                <a:lnTo>
                  <a:pt x="3175" y="1212"/>
                </a:lnTo>
                <a:lnTo>
                  <a:pt x="3171" y="1246"/>
                </a:lnTo>
                <a:lnTo>
                  <a:pt x="3169" y="1280"/>
                </a:lnTo>
                <a:lnTo>
                  <a:pt x="3169" y="1313"/>
                </a:lnTo>
                <a:lnTo>
                  <a:pt x="3173" y="1344"/>
                </a:lnTo>
                <a:lnTo>
                  <a:pt x="3181" y="1375"/>
                </a:lnTo>
                <a:lnTo>
                  <a:pt x="3193" y="1404"/>
                </a:lnTo>
                <a:lnTo>
                  <a:pt x="3209" y="1434"/>
                </a:lnTo>
                <a:lnTo>
                  <a:pt x="3225" y="1464"/>
                </a:lnTo>
                <a:lnTo>
                  <a:pt x="3243" y="1494"/>
                </a:lnTo>
                <a:lnTo>
                  <a:pt x="3260" y="1523"/>
                </a:lnTo>
                <a:lnTo>
                  <a:pt x="3275" y="1554"/>
                </a:lnTo>
                <a:lnTo>
                  <a:pt x="3287" y="1584"/>
                </a:lnTo>
                <a:lnTo>
                  <a:pt x="3295" y="1615"/>
                </a:lnTo>
                <a:lnTo>
                  <a:pt x="3298" y="1647"/>
                </a:lnTo>
                <a:lnTo>
                  <a:pt x="3295" y="1679"/>
                </a:lnTo>
                <a:lnTo>
                  <a:pt x="3287" y="1710"/>
                </a:lnTo>
                <a:lnTo>
                  <a:pt x="3275" y="1740"/>
                </a:lnTo>
                <a:lnTo>
                  <a:pt x="3260" y="1771"/>
                </a:lnTo>
                <a:lnTo>
                  <a:pt x="3243" y="1800"/>
                </a:lnTo>
                <a:lnTo>
                  <a:pt x="3225" y="1830"/>
                </a:lnTo>
                <a:lnTo>
                  <a:pt x="3209" y="1860"/>
                </a:lnTo>
                <a:lnTo>
                  <a:pt x="3193" y="1890"/>
                </a:lnTo>
                <a:lnTo>
                  <a:pt x="3181" y="1919"/>
                </a:lnTo>
                <a:lnTo>
                  <a:pt x="3173" y="1950"/>
                </a:lnTo>
                <a:lnTo>
                  <a:pt x="3169" y="1981"/>
                </a:lnTo>
                <a:lnTo>
                  <a:pt x="3169" y="2014"/>
                </a:lnTo>
                <a:lnTo>
                  <a:pt x="3171" y="2048"/>
                </a:lnTo>
                <a:lnTo>
                  <a:pt x="3175" y="2082"/>
                </a:lnTo>
                <a:lnTo>
                  <a:pt x="3180" y="2116"/>
                </a:lnTo>
                <a:lnTo>
                  <a:pt x="3184" y="2150"/>
                </a:lnTo>
                <a:lnTo>
                  <a:pt x="3187" y="2184"/>
                </a:lnTo>
                <a:lnTo>
                  <a:pt x="3186" y="2216"/>
                </a:lnTo>
                <a:lnTo>
                  <a:pt x="3182" y="2247"/>
                </a:lnTo>
                <a:lnTo>
                  <a:pt x="3173" y="2277"/>
                </a:lnTo>
                <a:lnTo>
                  <a:pt x="3160" y="2302"/>
                </a:lnTo>
                <a:lnTo>
                  <a:pt x="3143" y="2326"/>
                </a:lnTo>
                <a:lnTo>
                  <a:pt x="3123" y="2347"/>
                </a:lnTo>
                <a:lnTo>
                  <a:pt x="3100" y="2368"/>
                </a:lnTo>
                <a:lnTo>
                  <a:pt x="3076" y="2387"/>
                </a:lnTo>
                <a:lnTo>
                  <a:pt x="3051" y="2406"/>
                </a:lnTo>
                <a:lnTo>
                  <a:pt x="3025" y="2425"/>
                </a:lnTo>
                <a:lnTo>
                  <a:pt x="3001" y="2444"/>
                </a:lnTo>
                <a:lnTo>
                  <a:pt x="2978" y="2464"/>
                </a:lnTo>
                <a:lnTo>
                  <a:pt x="2958" y="2487"/>
                </a:lnTo>
                <a:lnTo>
                  <a:pt x="2940" y="2509"/>
                </a:lnTo>
                <a:lnTo>
                  <a:pt x="2926" y="2534"/>
                </a:lnTo>
                <a:lnTo>
                  <a:pt x="2914" y="2561"/>
                </a:lnTo>
                <a:lnTo>
                  <a:pt x="2904" y="2590"/>
                </a:lnTo>
                <a:lnTo>
                  <a:pt x="2895" y="2620"/>
                </a:lnTo>
                <a:lnTo>
                  <a:pt x="2887" y="2650"/>
                </a:lnTo>
                <a:lnTo>
                  <a:pt x="2879" y="2681"/>
                </a:lnTo>
                <a:lnTo>
                  <a:pt x="2870" y="2710"/>
                </a:lnTo>
                <a:lnTo>
                  <a:pt x="2860" y="2739"/>
                </a:lnTo>
                <a:lnTo>
                  <a:pt x="2848" y="2766"/>
                </a:lnTo>
                <a:lnTo>
                  <a:pt x="2833" y="2790"/>
                </a:lnTo>
                <a:lnTo>
                  <a:pt x="2815" y="2812"/>
                </a:lnTo>
                <a:lnTo>
                  <a:pt x="2793" y="2830"/>
                </a:lnTo>
                <a:lnTo>
                  <a:pt x="2769" y="2845"/>
                </a:lnTo>
                <a:lnTo>
                  <a:pt x="2742" y="2857"/>
                </a:lnTo>
                <a:lnTo>
                  <a:pt x="2713" y="2867"/>
                </a:lnTo>
                <a:lnTo>
                  <a:pt x="2684" y="2876"/>
                </a:lnTo>
                <a:lnTo>
                  <a:pt x="2653" y="2884"/>
                </a:lnTo>
                <a:lnTo>
                  <a:pt x="2623" y="2892"/>
                </a:lnTo>
                <a:lnTo>
                  <a:pt x="2593" y="2901"/>
                </a:lnTo>
                <a:lnTo>
                  <a:pt x="2564" y="2911"/>
                </a:lnTo>
                <a:lnTo>
                  <a:pt x="2537" y="2923"/>
                </a:lnTo>
                <a:lnTo>
                  <a:pt x="2512" y="2937"/>
                </a:lnTo>
                <a:lnTo>
                  <a:pt x="2490" y="2955"/>
                </a:lnTo>
                <a:lnTo>
                  <a:pt x="2467" y="2975"/>
                </a:lnTo>
                <a:lnTo>
                  <a:pt x="2447" y="2998"/>
                </a:lnTo>
                <a:lnTo>
                  <a:pt x="2428" y="3022"/>
                </a:lnTo>
                <a:lnTo>
                  <a:pt x="2409" y="3047"/>
                </a:lnTo>
                <a:lnTo>
                  <a:pt x="2390" y="3072"/>
                </a:lnTo>
                <a:lnTo>
                  <a:pt x="2371" y="3096"/>
                </a:lnTo>
                <a:lnTo>
                  <a:pt x="2350" y="3119"/>
                </a:lnTo>
                <a:lnTo>
                  <a:pt x="2329" y="3139"/>
                </a:lnTo>
                <a:lnTo>
                  <a:pt x="2305" y="3156"/>
                </a:lnTo>
                <a:lnTo>
                  <a:pt x="2280" y="3169"/>
                </a:lnTo>
                <a:lnTo>
                  <a:pt x="2250" y="3178"/>
                </a:lnTo>
                <a:lnTo>
                  <a:pt x="2219" y="3182"/>
                </a:lnTo>
                <a:lnTo>
                  <a:pt x="2187" y="3183"/>
                </a:lnTo>
                <a:lnTo>
                  <a:pt x="2153" y="3180"/>
                </a:lnTo>
                <a:lnTo>
                  <a:pt x="2119" y="3176"/>
                </a:lnTo>
                <a:lnTo>
                  <a:pt x="2085" y="3171"/>
                </a:lnTo>
                <a:lnTo>
                  <a:pt x="2051" y="3167"/>
                </a:lnTo>
                <a:lnTo>
                  <a:pt x="2017" y="3165"/>
                </a:lnTo>
                <a:lnTo>
                  <a:pt x="1984" y="3165"/>
                </a:lnTo>
                <a:lnTo>
                  <a:pt x="1953" y="3169"/>
                </a:lnTo>
                <a:lnTo>
                  <a:pt x="1921" y="3177"/>
                </a:lnTo>
                <a:lnTo>
                  <a:pt x="1892" y="3189"/>
                </a:lnTo>
                <a:lnTo>
                  <a:pt x="1862" y="3205"/>
                </a:lnTo>
                <a:lnTo>
                  <a:pt x="1832" y="3221"/>
                </a:lnTo>
                <a:lnTo>
                  <a:pt x="1802" y="3239"/>
                </a:lnTo>
                <a:lnTo>
                  <a:pt x="1773" y="3256"/>
                </a:lnTo>
                <a:lnTo>
                  <a:pt x="1742" y="3271"/>
                </a:lnTo>
                <a:lnTo>
                  <a:pt x="1712" y="3283"/>
                </a:lnTo>
                <a:lnTo>
                  <a:pt x="1681" y="3291"/>
                </a:lnTo>
                <a:lnTo>
                  <a:pt x="1649" y="3294"/>
                </a:lnTo>
                <a:lnTo>
                  <a:pt x="1617" y="3291"/>
                </a:lnTo>
                <a:lnTo>
                  <a:pt x="1586" y="3283"/>
                </a:lnTo>
                <a:lnTo>
                  <a:pt x="1556" y="3271"/>
                </a:lnTo>
                <a:lnTo>
                  <a:pt x="1525" y="3256"/>
                </a:lnTo>
                <a:lnTo>
                  <a:pt x="1496" y="3239"/>
                </a:lnTo>
                <a:lnTo>
                  <a:pt x="1466" y="3221"/>
                </a:lnTo>
                <a:lnTo>
                  <a:pt x="1436" y="3205"/>
                </a:lnTo>
                <a:lnTo>
                  <a:pt x="1406" y="3189"/>
                </a:lnTo>
                <a:lnTo>
                  <a:pt x="1376" y="3177"/>
                </a:lnTo>
                <a:lnTo>
                  <a:pt x="1345" y="3169"/>
                </a:lnTo>
                <a:lnTo>
                  <a:pt x="1314" y="3165"/>
                </a:lnTo>
                <a:lnTo>
                  <a:pt x="1281" y="3165"/>
                </a:lnTo>
                <a:lnTo>
                  <a:pt x="1247" y="3167"/>
                </a:lnTo>
                <a:lnTo>
                  <a:pt x="1213" y="3171"/>
                </a:lnTo>
                <a:lnTo>
                  <a:pt x="1179" y="3176"/>
                </a:lnTo>
                <a:lnTo>
                  <a:pt x="1145" y="3180"/>
                </a:lnTo>
                <a:lnTo>
                  <a:pt x="1111" y="3183"/>
                </a:lnTo>
                <a:lnTo>
                  <a:pt x="1079" y="3182"/>
                </a:lnTo>
                <a:lnTo>
                  <a:pt x="1048" y="3178"/>
                </a:lnTo>
                <a:lnTo>
                  <a:pt x="1018" y="3169"/>
                </a:lnTo>
                <a:lnTo>
                  <a:pt x="993" y="3156"/>
                </a:lnTo>
                <a:lnTo>
                  <a:pt x="969" y="3139"/>
                </a:lnTo>
                <a:lnTo>
                  <a:pt x="948" y="3119"/>
                </a:lnTo>
                <a:lnTo>
                  <a:pt x="927" y="3096"/>
                </a:lnTo>
                <a:lnTo>
                  <a:pt x="908" y="3072"/>
                </a:lnTo>
                <a:lnTo>
                  <a:pt x="889" y="3047"/>
                </a:lnTo>
                <a:lnTo>
                  <a:pt x="870" y="3022"/>
                </a:lnTo>
                <a:lnTo>
                  <a:pt x="851" y="2998"/>
                </a:lnTo>
                <a:lnTo>
                  <a:pt x="831" y="2975"/>
                </a:lnTo>
                <a:lnTo>
                  <a:pt x="808" y="2955"/>
                </a:lnTo>
                <a:lnTo>
                  <a:pt x="786" y="2937"/>
                </a:lnTo>
                <a:lnTo>
                  <a:pt x="761" y="2923"/>
                </a:lnTo>
                <a:lnTo>
                  <a:pt x="734" y="2911"/>
                </a:lnTo>
                <a:lnTo>
                  <a:pt x="705" y="2901"/>
                </a:lnTo>
                <a:lnTo>
                  <a:pt x="675" y="2892"/>
                </a:lnTo>
                <a:lnTo>
                  <a:pt x="645" y="2884"/>
                </a:lnTo>
                <a:lnTo>
                  <a:pt x="614" y="2876"/>
                </a:lnTo>
                <a:lnTo>
                  <a:pt x="585" y="2867"/>
                </a:lnTo>
                <a:lnTo>
                  <a:pt x="556" y="2857"/>
                </a:lnTo>
                <a:lnTo>
                  <a:pt x="529" y="2845"/>
                </a:lnTo>
                <a:lnTo>
                  <a:pt x="505" y="2830"/>
                </a:lnTo>
                <a:lnTo>
                  <a:pt x="483" y="2812"/>
                </a:lnTo>
                <a:lnTo>
                  <a:pt x="465" y="2790"/>
                </a:lnTo>
                <a:lnTo>
                  <a:pt x="450" y="2766"/>
                </a:lnTo>
                <a:lnTo>
                  <a:pt x="438" y="2739"/>
                </a:lnTo>
                <a:lnTo>
                  <a:pt x="428" y="2710"/>
                </a:lnTo>
                <a:lnTo>
                  <a:pt x="419" y="2681"/>
                </a:lnTo>
                <a:lnTo>
                  <a:pt x="411" y="2650"/>
                </a:lnTo>
                <a:lnTo>
                  <a:pt x="403" y="2620"/>
                </a:lnTo>
                <a:lnTo>
                  <a:pt x="394" y="2590"/>
                </a:lnTo>
                <a:lnTo>
                  <a:pt x="384" y="2561"/>
                </a:lnTo>
                <a:lnTo>
                  <a:pt x="372" y="2534"/>
                </a:lnTo>
                <a:lnTo>
                  <a:pt x="358" y="2509"/>
                </a:lnTo>
                <a:lnTo>
                  <a:pt x="340" y="2487"/>
                </a:lnTo>
                <a:lnTo>
                  <a:pt x="320" y="2464"/>
                </a:lnTo>
                <a:lnTo>
                  <a:pt x="297" y="2444"/>
                </a:lnTo>
                <a:lnTo>
                  <a:pt x="272" y="2425"/>
                </a:lnTo>
                <a:lnTo>
                  <a:pt x="247" y="2406"/>
                </a:lnTo>
                <a:lnTo>
                  <a:pt x="222" y="2387"/>
                </a:lnTo>
                <a:lnTo>
                  <a:pt x="198" y="2368"/>
                </a:lnTo>
                <a:lnTo>
                  <a:pt x="175" y="2347"/>
                </a:lnTo>
                <a:lnTo>
                  <a:pt x="155" y="2326"/>
                </a:lnTo>
                <a:lnTo>
                  <a:pt x="138" y="2302"/>
                </a:lnTo>
                <a:lnTo>
                  <a:pt x="125" y="2277"/>
                </a:lnTo>
                <a:lnTo>
                  <a:pt x="116" y="2247"/>
                </a:lnTo>
                <a:lnTo>
                  <a:pt x="112" y="2216"/>
                </a:lnTo>
                <a:lnTo>
                  <a:pt x="111" y="2184"/>
                </a:lnTo>
                <a:lnTo>
                  <a:pt x="114" y="2150"/>
                </a:lnTo>
                <a:lnTo>
                  <a:pt x="118" y="2116"/>
                </a:lnTo>
                <a:lnTo>
                  <a:pt x="123" y="2082"/>
                </a:lnTo>
                <a:lnTo>
                  <a:pt x="127" y="2048"/>
                </a:lnTo>
                <a:lnTo>
                  <a:pt x="129" y="2014"/>
                </a:lnTo>
                <a:lnTo>
                  <a:pt x="129" y="1981"/>
                </a:lnTo>
                <a:lnTo>
                  <a:pt x="125" y="1950"/>
                </a:lnTo>
                <a:lnTo>
                  <a:pt x="117" y="1919"/>
                </a:lnTo>
                <a:lnTo>
                  <a:pt x="105" y="1890"/>
                </a:lnTo>
                <a:lnTo>
                  <a:pt x="90" y="1860"/>
                </a:lnTo>
                <a:lnTo>
                  <a:pt x="73" y="1830"/>
                </a:lnTo>
                <a:lnTo>
                  <a:pt x="55" y="1800"/>
                </a:lnTo>
                <a:lnTo>
                  <a:pt x="38" y="1771"/>
                </a:lnTo>
                <a:lnTo>
                  <a:pt x="23" y="1740"/>
                </a:lnTo>
                <a:lnTo>
                  <a:pt x="11" y="1710"/>
                </a:lnTo>
                <a:lnTo>
                  <a:pt x="3" y="1679"/>
                </a:lnTo>
                <a:lnTo>
                  <a:pt x="0" y="1647"/>
                </a:lnTo>
                <a:lnTo>
                  <a:pt x="3" y="1615"/>
                </a:lnTo>
                <a:lnTo>
                  <a:pt x="11" y="1584"/>
                </a:lnTo>
                <a:lnTo>
                  <a:pt x="23" y="1554"/>
                </a:lnTo>
                <a:lnTo>
                  <a:pt x="38" y="1523"/>
                </a:lnTo>
                <a:lnTo>
                  <a:pt x="55" y="1494"/>
                </a:lnTo>
                <a:lnTo>
                  <a:pt x="73" y="1464"/>
                </a:lnTo>
                <a:lnTo>
                  <a:pt x="90" y="1434"/>
                </a:lnTo>
                <a:lnTo>
                  <a:pt x="105" y="1404"/>
                </a:lnTo>
                <a:lnTo>
                  <a:pt x="117" y="1375"/>
                </a:lnTo>
                <a:lnTo>
                  <a:pt x="125" y="1344"/>
                </a:lnTo>
                <a:lnTo>
                  <a:pt x="129" y="1313"/>
                </a:lnTo>
                <a:lnTo>
                  <a:pt x="129" y="1280"/>
                </a:lnTo>
                <a:lnTo>
                  <a:pt x="127" y="1246"/>
                </a:lnTo>
                <a:lnTo>
                  <a:pt x="123" y="1212"/>
                </a:lnTo>
                <a:lnTo>
                  <a:pt x="118" y="1178"/>
                </a:lnTo>
                <a:lnTo>
                  <a:pt x="114" y="1144"/>
                </a:lnTo>
                <a:lnTo>
                  <a:pt x="111" y="1110"/>
                </a:lnTo>
                <a:lnTo>
                  <a:pt x="112" y="1078"/>
                </a:lnTo>
                <a:lnTo>
                  <a:pt x="116" y="1047"/>
                </a:lnTo>
                <a:lnTo>
                  <a:pt x="125" y="1017"/>
                </a:lnTo>
                <a:lnTo>
                  <a:pt x="138" y="992"/>
                </a:lnTo>
                <a:lnTo>
                  <a:pt x="155" y="968"/>
                </a:lnTo>
                <a:lnTo>
                  <a:pt x="175" y="947"/>
                </a:lnTo>
                <a:lnTo>
                  <a:pt x="198" y="926"/>
                </a:lnTo>
                <a:lnTo>
                  <a:pt x="222" y="907"/>
                </a:lnTo>
                <a:lnTo>
                  <a:pt x="247" y="888"/>
                </a:lnTo>
                <a:lnTo>
                  <a:pt x="272" y="869"/>
                </a:lnTo>
                <a:lnTo>
                  <a:pt x="297" y="850"/>
                </a:lnTo>
                <a:lnTo>
                  <a:pt x="320" y="830"/>
                </a:lnTo>
                <a:lnTo>
                  <a:pt x="340" y="807"/>
                </a:lnTo>
                <a:lnTo>
                  <a:pt x="358" y="785"/>
                </a:lnTo>
                <a:lnTo>
                  <a:pt x="372" y="760"/>
                </a:lnTo>
                <a:lnTo>
                  <a:pt x="384" y="733"/>
                </a:lnTo>
                <a:lnTo>
                  <a:pt x="394" y="704"/>
                </a:lnTo>
                <a:lnTo>
                  <a:pt x="403" y="674"/>
                </a:lnTo>
                <a:lnTo>
                  <a:pt x="411" y="644"/>
                </a:lnTo>
                <a:lnTo>
                  <a:pt x="419" y="613"/>
                </a:lnTo>
                <a:lnTo>
                  <a:pt x="428" y="584"/>
                </a:lnTo>
                <a:lnTo>
                  <a:pt x="438" y="555"/>
                </a:lnTo>
                <a:lnTo>
                  <a:pt x="450" y="528"/>
                </a:lnTo>
                <a:lnTo>
                  <a:pt x="465" y="504"/>
                </a:lnTo>
                <a:lnTo>
                  <a:pt x="483" y="482"/>
                </a:lnTo>
                <a:lnTo>
                  <a:pt x="505" y="464"/>
                </a:lnTo>
                <a:lnTo>
                  <a:pt x="529" y="449"/>
                </a:lnTo>
                <a:lnTo>
                  <a:pt x="556" y="437"/>
                </a:lnTo>
                <a:lnTo>
                  <a:pt x="585" y="427"/>
                </a:lnTo>
                <a:lnTo>
                  <a:pt x="614" y="418"/>
                </a:lnTo>
                <a:lnTo>
                  <a:pt x="645" y="410"/>
                </a:lnTo>
                <a:lnTo>
                  <a:pt x="675" y="402"/>
                </a:lnTo>
                <a:lnTo>
                  <a:pt x="705" y="393"/>
                </a:lnTo>
                <a:lnTo>
                  <a:pt x="734" y="383"/>
                </a:lnTo>
                <a:lnTo>
                  <a:pt x="761" y="371"/>
                </a:lnTo>
                <a:lnTo>
                  <a:pt x="786" y="357"/>
                </a:lnTo>
                <a:lnTo>
                  <a:pt x="808" y="339"/>
                </a:lnTo>
                <a:lnTo>
                  <a:pt x="831" y="319"/>
                </a:lnTo>
                <a:lnTo>
                  <a:pt x="851" y="296"/>
                </a:lnTo>
                <a:lnTo>
                  <a:pt x="870" y="272"/>
                </a:lnTo>
                <a:lnTo>
                  <a:pt x="889" y="247"/>
                </a:lnTo>
                <a:lnTo>
                  <a:pt x="908" y="222"/>
                </a:lnTo>
                <a:lnTo>
                  <a:pt x="927" y="198"/>
                </a:lnTo>
                <a:lnTo>
                  <a:pt x="948" y="175"/>
                </a:lnTo>
                <a:lnTo>
                  <a:pt x="969" y="155"/>
                </a:lnTo>
                <a:lnTo>
                  <a:pt x="993" y="138"/>
                </a:lnTo>
                <a:lnTo>
                  <a:pt x="1018" y="125"/>
                </a:lnTo>
                <a:lnTo>
                  <a:pt x="1048" y="116"/>
                </a:lnTo>
                <a:lnTo>
                  <a:pt x="1079" y="112"/>
                </a:lnTo>
                <a:lnTo>
                  <a:pt x="1111" y="111"/>
                </a:lnTo>
                <a:lnTo>
                  <a:pt x="1145" y="114"/>
                </a:lnTo>
                <a:lnTo>
                  <a:pt x="1179" y="118"/>
                </a:lnTo>
                <a:lnTo>
                  <a:pt x="1213" y="123"/>
                </a:lnTo>
                <a:lnTo>
                  <a:pt x="1247" y="127"/>
                </a:lnTo>
                <a:lnTo>
                  <a:pt x="1281" y="129"/>
                </a:lnTo>
                <a:lnTo>
                  <a:pt x="1314" y="129"/>
                </a:lnTo>
                <a:lnTo>
                  <a:pt x="1345" y="125"/>
                </a:lnTo>
                <a:lnTo>
                  <a:pt x="1376" y="117"/>
                </a:lnTo>
                <a:lnTo>
                  <a:pt x="1406" y="105"/>
                </a:lnTo>
                <a:lnTo>
                  <a:pt x="1436" y="89"/>
                </a:lnTo>
                <a:lnTo>
                  <a:pt x="1466" y="73"/>
                </a:lnTo>
                <a:lnTo>
                  <a:pt x="1496" y="55"/>
                </a:lnTo>
                <a:lnTo>
                  <a:pt x="1525" y="38"/>
                </a:lnTo>
                <a:lnTo>
                  <a:pt x="1556" y="23"/>
                </a:lnTo>
                <a:lnTo>
                  <a:pt x="1586" y="11"/>
                </a:lnTo>
                <a:lnTo>
                  <a:pt x="1617" y="3"/>
                </a:lnTo>
                <a:lnTo>
                  <a:pt x="1649" y="0"/>
                </a:lnTo>
                <a:close/>
              </a:path>
            </a:pathLst>
          </a:custGeom>
          <a:solidFill>
            <a:schemeClr val="bg2"/>
          </a:solidFill>
          <a:ln w="0">
            <a:noFill/>
            <a:prstDash val="solid"/>
            <a:round/>
            <a:headEnd/>
            <a:tailEnd/>
          </a:ln>
        </p:spPr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78523" y="1098388"/>
            <a:ext cx="10318418" cy="4394988"/>
          </a:xfrm>
        </p:spPr>
        <p:txBody>
          <a:bodyPr anchor="ctr">
            <a:noAutofit/>
          </a:bodyPr>
          <a:lstStyle>
            <a:lvl1pPr algn="ctr">
              <a:defRPr sz="10000" spc="80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215045" y="5979196"/>
            <a:ext cx="8045373" cy="74227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000" b="1" i="0" cap="all" spc="400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078523" y="6375679"/>
            <a:ext cx="2329722" cy="348462"/>
          </a:xfrm>
        </p:spPr>
        <p:txBody>
          <a:bodyPr/>
          <a:lstStyle>
            <a:lvl1pPr>
              <a:defRPr baseline="0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fld id="{3275B310-5023-4FF0-84B1-D829AC3B2B29}" type="datetimeFigureOut">
              <a:rPr lang="en-US" smtClean="0">
                <a:solidFill>
                  <a:srgbClr val="FFC000">
                    <a:lumMod val="50000"/>
                  </a:srgbClr>
                </a:solidFill>
              </a:rPr>
              <a:pPr/>
              <a:t>3/15/2023</a:t>
            </a:fld>
            <a:endParaRPr lang="en-US">
              <a:solidFill>
                <a:srgbClr val="FFC000">
                  <a:lumMod val="5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80332" y="6375679"/>
            <a:ext cx="4114800" cy="345796"/>
          </a:xfrm>
        </p:spPr>
        <p:txBody>
          <a:bodyPr/>
          <a:lstStyle>
            <a:lvl1pPr>
              <a:defRPr baseline="0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endParaRPr lang="en-US">
              <a:solidFill>
                <a:srgbClr val="FFC000">
                  <a:lumMod val="5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067218" y="6375679"/>
            <a:ext cx="2329723" cy="345796"/>
          </a:xfrm>
        </p:spPr>
        <p:txBody>
          <a:bodyPr/>
          <a:lstStyle>
            <a:lvl1pPr>
              <a:defRPr baseline="0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fld id="{D9CB10C4-4CE0-4D71-9C85-A411492A1E37}" type="slidenum">
              <a:rPr lang="en-US" smtClean="0">
                <a:solidFill>
                  <a:srgbClr val="FFC000">
                    <a:lumMod val="50000"/>
                  </a:srgbClr>
                </a:solidFill>
              </a:rPr>
              <a:pPr/>
              <a:t>‹#›</a:t>
            </a:fld>
            <a:endParaRPr lang="en-US">
              <a:solidFill>
                <a:srgbClr val="FFC000">
                  <a:lumMod val="50000"/>
                </a:srgbClr>
              </a:solidFill>
            </a:endParaRPr>
          </a:p>
        </p:txBody>
      </p:sp>
      <p:sp>
        <p:nvSpPr>
          <p:cNvPr id="13" name="Rectangle 12" title="left edge border"/>
          <p:cNvSpPr/>
          <p:nvPr/>
        </p:nvSpPr>
        <p:spPr>
          <a:xfrm>
            <a:off x="0" y="0"/>
            <a:ext cx="283464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</p:spTree>
    <p:extLst>
      <p:ext uri="{BB962C8B-B14F-4D97-AF65-F5344CB8AC3E}">
        <p14:creationId xmlns:p14="http://schemas.microsoft.com/office/powerpoint/2010/main" val="326828537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75B310-5023-4FF0-84B1-D829AC3B2B29}" type="datetimeFigureOut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3/15/2023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CB10C4-4CE0-4D71-9C85-A411492A1E37}" type="slidenum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‹#›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798624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42929" y="1073888"/>
            <a:ext cx="8187071" cy="4064627"/>
          </a:xfrm>
        </p:spPr>
        <p:txBody>
          <a:bodyPr anchor="b">
            <a:normAutofit/>
          </a:bodyPr>
          <a:lstStyle>
            <a:lvl1pPr>
              <a:defRPr sz="8400" spc="800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242930" y="5159781"/>
            <a:ext cx="7017488" cy="95113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2000" b="1" i="0" cap="all" spc="400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236546" y="6375679"/>
            <a:ext cx="1493947" cy="348462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fld id="{3275B310-5023-4FF0-84B1-D829AC3B2B29}" type="datetimeFigureOut">
              <a:rPr lang="en-US" smtClean="0">
                <a:solidFill>
                  <a:srgbClr val="FFFFFF"/>
                </a:solidFill>
              </a:rPr>
              <a:pPr/>
              <a:t>3/15/2023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279064" y="6375679"/>
            <a:ext cx="4114800" cy="345796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942434" y="6375679"/>
            <a:ext cx="1487566" cy="345796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fld id="{D9CB10C4-4CE0-4D71-9C85-A411492A1E37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grpSp>
        <p:nvGrpSpPr>
          <p:cNvPr id="7" name="Group 6" title="left scallop shape"/>
          <p:cNvGrpSpPr/>
          <p:nvPr/>
        </p:nvGrpSpPr>
        <p:grpSpPr>
          <a:xfrm>
            <a:off x="0" y="0"/>
            <a:ext cx="2814638" cy="6858000"/>
            <a:chOff x="0" y="0"/>
            <a:chExt cx="2814638" cy="6858000"/>
          </a:xfrm>
        </p:grpSpPr>
        <p:sp>
          <p:nvSpPr>
            <p:cNvPr id="11" name="Freeform 6" title="left scallop shape"/>
            <p:cNvSpPr/>
            <p:nvPr/>
          </p:nvSpPr>
          <p:spPr bwMode="auto">
            <a:xfrm>
              <a:off x="0" y="0"/>
              <a:ext cx="2814638" cy="6858000"/>
            </a:xfrm>
            <a:custGeom>
              <a:avLst/>
              <a:gdLst/>
              <a:ahLst/>
              <a:cxnLst/>
              <a:rect l="0" t="0" r="r" b="b"/>
              <a:pathLst>
                <a:path w="1773" h="4320">
                  <a:moveTo>
                    <a:pt x="0" y="0"/>
                  </a:moveTo>
                  <a:lnTo>
                    <a:pt x="891" y="0"/>
                  </a:lnTo>
                  <a:lnTo>
                    <a:pt x="906" y="56"/>
                  </a:lnTo>
                  <a:lnTo>
                    <a:pt x="921" y="111"/>
                  </a:lnTo>
                  <a:lnTo>
                    <a:pt x="938" y="165"/>
                  </a:lnTo>
                  <a:lnTo>
                    <a:pt x="957" y="217"/>
                  </a:lnTo>
                  <a:lnTo>
                    <a:pt x="980" y="266"/>
                  </a:lnTo>
                  <a:lnTo>
                    <a:pt x="1007" y="312"/>
                  </a:lnTo>
                  <a:lnTo>
                    <a:pt x="1036" y="351"/>
                  </a:lnTo>
                  <a:lnTo>
                    <a:pt x="1069" y="387"/>
                  </a:lnTo>
                  <a:lnTo>
                    <a:pt x="1105" y="422"/>
                  </a:lnTo>
                  <a:lnTo>
                    <a:pt x="1145" y="456"/>
                  </a:lnTo>
                  <a:lnTo>
                    <a:pt x="1185" y="487"/>
                  </a:lnTo>
                  <a:lnTo>
                    <a:pt x="1227" y="520"/>
                  </a:lnTo>
                  <a:lnTo>
                    <a:pt x="1270" y="551"/>
                  </a:lnTo>
                  <a:lnTo>
                    <a:pt x="1311" y="584"/>
                  </a:lnTo>
                  <a:lnTo>
                    <a:pt x="1352" y="617"/>
                  </a:lnTo>
                  <a:lnTo>
                    <a:pt x="1390" y="651"/>
                  </a:lnTo>
                  <a:lnTo>
                    <a:pt x="1425" y="687"/>
                  </a:lnTo>
                  <a:lnTo>
                    <a:pt x="1456" y="725"/>
                  </a:lnTo>
                  <a:lnTo>
                    <a:pt x="1484" y="765"/>
                  </a:lnTo>
                  <a:lnTo>
                    <a:pt x="1505" y="808"/>
                  </a:lnTo>
                  <a:lnTo>
                    <a:pt x="1521" y="856"/>
                  </a:lnTo>
                  <a:lnTo>
                    <a:pt x="1530" y="907"/>
                  </a:lnTo>
                  <a:lnTo>
                    <a:pt x="1534" y="960"/>
                  </a:lnTo>
                  <a:lnTo>
                    <a:pt x="1534" y="1013"/>
                  </a:lnTo>
                  <a:lnTo>
                    <a:pt x="1530" y="1068"/>
                  </a:lnTo>
                  <a:lnTo>
                    <a:pt x="1523" y="1125"/>
                  </a:lnTo>
                  <a:lnTo>
                    <a:pt x="1515" y="1181"/>
                  </a:lnTo>
                  <a:lnTo>
                    <a:pt x="1508" y="1237"/>
                  </a:lnTo>
                  <a:lnTo>
                    <a:pt x="1501" y="1293"/>
                  </a:lnTo>
                  <a:lnTo>
                    <a:pt x="1496" y="1350"/>
                  </a:lnTo>
                  <a:lnTo>
                    <a:pt x="1494" y="1405"/>
                  </a:lnTo>
                  <a:lnTo>
                    <a:pt x="1497" y="1458"/>
                  </a:lnTo>
                  <a:lnTo>
                    <a:pt x="1504" y="1511"/>
                  </a:lnTo>
                  <a:lnTo>
                    <a:pt x="1517" y="1560"/>
                  </a:lnTo>
                  <a:lnTo>
                    <a:pt x="1535" y="1610"/>
                  </a:lnTo>
                  <a:lnTo>
                    <a:pt x="1557" y="1659"/>
                  </a:lnTo>
                  <a:lnTo>
                    <a:pt x="1583" y="1708"/>
                  </a:lnTo>
                  <a:lnTo>
                    <a:pt x="1611" y="1757"/>
                  </a:lnTo>
                  <a:lnTo>
                    <a:pt x="1640" y="1807"/>
                  </a:lnTo>
                  <a:lnTo>
                    <a:pt x="1669" y="1855"/>
                  </a:lnTo>
                  <a:lnTo>
                    <a:pt x="1696" y="1905"/>
                  </a:lnTo>
                  <a:lnTo>
                    <a:pt x="1721" y="1954"/>
                  </a:lnTo>
                  <a:lnTo>
                    <a:pt x="1742" y="2006"/>
                  </a:lnTo>
                  <a:lnTo>
                    <a:pt x="1759" y="2057"/>
                  </a:lnTo>
                  <a:lnTo>
                    <a:pt x="1769" y="2108"/>
                  </a:lnTo>
                  <a:lnTo>
                    <a:pt x="1773" y="2160"/>
                  </a:lnTo>
                  <a:lnTo>
                    <a:pt x="1769" y="2212"/>
                  </a:lnTo>
                  <a:lnTo>
                    <a:pt x="1759" y="2263"/>
                  </a:lnTo>
                  <a:lnTo>
                    <a:pt x="1742" y="2314"/>
                  </a:lnTo>
                  <a:lnTo>
                    <a:pt x="1721" y="2366"/>
                  </a:lnTo>
                  <a:lnTo>
                    <a:pt x="1696" y="2415"/>
                  </a:lnTo>
                  <a:lnTo>
                    <a:pt x="1669" y="2465"/>
                  </a:lnTo>
                  <a:lnTo>
                    <a:pt x="1640" y="2513"/>
                  </a:lnTo>
                  <a:lnTo>
                    <a:pt x="1611" y="2563"/>
                  </a:lnTo>
                  <a:lnTo>
                    <a:pt x="1583" y="2612"/>
                  </a:lnTo>
                  <a:lnTo>
                    <a:pt x="1557" y="2661"/>
                  </a:lnTo>
                  <a:lnTo>
                    <a:pt x="1535" y="2710"/>
                  </a:lnTo>
                  <a:lnTo>
                    <a:pt x="1517" y="2760"/>
                  </a:lnTo>
                  <a:lnTo>
                    <a:pt x="1504" y="2809"/>
                  </a:lnTo>
                  <a:lnTo>
                    <a:pt x="1497" y="2862"/>
                  </a:lnTo>
                  <a:lnTo>
                    <a:pt x="1494" y="2915"/>
                  </a:lnTo>
                  <a:lnTo>
                    <a:pt x="1496" y="2970"/>
                  </a:lnTo>
                  <a:lnTo>
                    <a:pt x="1501" y="3027"/>
                  </a:lnTo>
                  <a:lnTo>
                    <a:pt x="1508" y="3083"/>
                  </a:lnTo>
                  <a:lnTo>
                    <a:pt x="1515" y="3139"/>
                  </a:lnTo>
                  <a:lnTo>
                    <a:pt x="1523" y="3195"/>
                  </a:lnTo>
                  <a:lnTo>
                    <a:pt x="1530" y="3252"/>
                  </a:lnTo>
                  <a:lnTo>
                    <a:pt x="1534" y="3307"/>
                  </a:lnTo>
                  <a:lnTo>
                    <a:pt x="1534" y="3360"/>
                  </a:lnTo>
                  <a:lnTo>
                    <a:pt x="1530" y="3413"/>
                  </a:lnTo>
                  <a:lnTo>
                    <a:pt x="1521" y="3464"/>
                  </a:lnTo>
                  <a:lnTo>
                    <a:pt x="1505" y="3512"/>
                  </a:lnTo>
                  <a:lnTo>
                    <a:pt x="1484" y="3555"/>
                  </a:lnTo>
                  <a:lnTo>
                    <a:pt x="1456" y="3595"/>
                  </a:lnTo>
                  <a:lnTo>
                    <a:pt x="1425" y="3633"/>
                  </a:lnTo>
                  <a:lnTo>
                    <a:pt x="1390" y="3669"/>
                  </a:lnTo>
                  <a:lnTo>
                    <a:pt x="1352" y="3703"/>
                  </a:lnTo>
                  <a:lnTo>
                    <a:pt x="1311" y="3736"/>
                  </a:lnTo>
                  <a:lnTo>
                    <a:pt x="1270" y="3769"/>
                  </a:lnTo>
                  <a:lnTo>
                    <a:pt x="1227" y="3800"/>
                  </a:lnTo>
                  <a:lnTo>
                    <a:pt x="1185" y="3833"/>
                  </a:lnTo>
                  <a:lnTo>
                    <a:pt x="1145" y="3864"/>
                  </a:lnTo>
                  <a:lnTo>
                    <a:pt x="1105" y="3898"/>
                  </a:lnTo>
                  <a:lnTo>
                    <a:pt x="1069" y="3933"/>
                  </a:lnTo>
                  <a:lnTo>
                    <a:pt x="1036" y="3969"/>
                  </a:lnTo>
                  <a:lnTo>
                    <a:pt x="1007" y="4008"/>
                  </a:lnTo>
                  <a:lnTo>
                    <a:pt x="980" y="4054"/>
                  </a:lnTo>
                  <a:lnTo>
                    <a:pt x="957" y="4103"/>
                  </a:lnTo>
                  <a:lnTo>
                    <a:pt x="938" y="4155"/>
                  </a:lnTo>
                  <a:lnTo>
                    <a:pt x="921" y="4209"/>
                  </a:lnTo>
                  <a:lnTo>
                    <a:pt x="906" y="4264"/>
                  </a:lnTo>
                  <a:lnTo>
                    <a:pt x="891" y="4320"/>
                  </a:lnTo>
                  <a:lnTo>
                    <a:pt x="0" y="432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</p:sp>
        <p:sp>
          <p:nvSpPr>
            <p:cNvPr id="16" name="Freeform 11" title="left scallop inline"/>
            <p:cNvSpPr/>
            <p:nvPr/>
          </p:nvSpPr>
          <p:spPr bwMode="auto">
            <a:xfrm>
              <a:off x="874382" y="0"/>
              <a:ext cx="1646238" cy="6858000"/>
            </a:xfrm>
            <a:custGeom>
              <a:avLst/>
              <a:gdLst/>
              <a:ahLst/>
              <a:cxnLst/>
              <a:rect l="0" t="0" r="r" b="b"/>
              <a:pathLst>
                <a:path w="1037" h="4320">
                  <a:moveTo>
                    <a:pt x="0" y="0"/>
                  </a:moveTo>
                  <a:lnTo>
                    <a:pt x="171" y="0"/>
                  </a:lnTo>
                  <a:lnTo>
                    <a:pt x="188" y="55"/>
                  </a:lnTo>
                  <a:lnTo>
                    <a:pt x="204" y="110"/>
                  </a:lnTo>
                  <a:lnTo>
                    <a:pt x="220" y="166"/>
                  </a:lnTo>
                  <a:lnTo>
                    <a:pt x="234" y="223"/>
                  </a:lnTo>
                  <a:lnTo>
                    <a:pt x="251" y="278"/>
                  </a:lnTo>
                  <a:lnTo>
                    <a:pt x="269" y="331"/>
                  </a:lnTo>
                  <a:lnTo>
                    <a:pt x="292" y="381"/>
                  </a:lnTo>
                  <a:lnTo>
                    <a:pt x="319" y="427"/>
                  </a:lnTo>
                  <a:lnTo>
                    <a:pt x="349" y="466"/>
                  </a:lnTo>
                  <a:lnTo>
                    <a:pt x="382" y="503"/>
                  </a:lnTo>
                  <a:lnTo>
                    <a:pt x="420" y="537"/>
                  </a:lnTo>
                  <a:lnTo>
                    <a:pt x="460" y="571"/>
                  </a:lnTo>
                  <a:lnTo>
                    <a:pt x="502" y="603"/>
                  </a:lnTo>
                  <a:lnTo>
                    <a:pt x="544" y="635"/>
                  </a:lnTo>
                  <a:lnTo>
                    <a:pt x="587" y="668"/>
                  </a:lnTo>
                  <a:lnTo>
                    <a:pt x="628" y="700"/>
                  </a:lnTo>
                  <a:lnTo>
                    <a:pt x="667" y="734"/>
                  </a:lnTo>
                  <a:lnTo>
                    <a:pt x="703" y="771"/>
                  </a:lnTo>
                  <a:lnTo>
                    <a:pt x="736" y="808"/>
                  </a:lnTo>
                  <a:lnTo>
                    <a:pt x="763" y="848"/>
                  </a:lnTo>
                  <a:lnTo>
                    <a:pt x="786" y="893"/>
                  </a:lnTo>
                  <a:lnTo>
                    <a:pt x="800" y="937"/>
                  </a:lnTo>
                  <a:lnTo>
                    <a:pt x="809" y="986"/>
                  </a:lnTo>
                  <a:lnTo>
                    <a:pt x="813" y="1034"/>
                  </a:lnTo>
                  <a:lnTo>
                    <a:pt x="812" y="1085"/>
                  </a:lnTo>
                  <a:lnTo>
                    <a:pt x="808" y="1136"/>
                  </a:lnTo>
                  <a:lnTo>
                    <a:pt x="803" y="1189"/>
                  </a:lnTo>
                  <a:lnTo>
                    <a:pt x="796" y="1242"/>
                  </a:lnTo>
                  <a:lnTo>
                    <a:pt x="788" y="1295"/>
                  </a:lnTo>
                  <a:lnTo>
                    <a:pt x="782" y="1348"/>
                  </a:lnTo>
                  <a:lnTo>
                    <a:pt x="778" y="1401"/>
                  </a:lnTo>
                  <a:lnTo>
                    <a:pt x="775" y="1452"/>
                  </a:lnTo>
                  <a:lnTo>
                    <a:pt x="778" y="1502"/>
                  </a:lnTo>
                  <a:lnTo>
                    <a:pt x="784" y="1551"/>
                  </a:lnTo>
                  <a:lnTo>
                    <a:pt x="797" y="1602"/>
                  </a:lnTo>
                  <a:lnTo>
                    <a:pt x="817" y="1652"/>
                  </a:lnTo>
                  <a:lnTo>
                    <a:pt x="841" y="1702"/>
                  </a:lnTo>
                  <a:lnTo>
                    <a:pt x="868" y="1752"/>
                  </a:lnTo>
                  <a:lnTo>
                    <a:pt x="896" y="1801"/>
                  </a:lnTo>
                  <a:lnTo>
                    <a:pt x="926" y="1851"/>
                  </a:lnTo>
                  <a:lnTo>
                    <a:pt x="953" y="1901"/>
                  </a:lnTo>
                  <a:lnTo>
                    <a:pt x="980" y="1952"/>
                  </a:lnTo>
                  <a:lnTo>
                    <a:pt x="1003" y="2003"/>
                  </a:lnTo>
                  <a:lnTo>
                    <a:pt x="1021" y="2054"/>
                  </a:lnTo>
                  <a:lnTo>
                    <a:pt x="1031" y="2106"/>
                  </a:lnTo>
                  <a:lnTo>
                    <a:pt x="1037" y="2160"/>
                  </a:lnTo>
                  <a:lnTo>
                    <a:pt x="1031" y="2214"/>
                  </a:lnTo>
                  <a:lnTo>
                    <a:pt x="1021" y="2266"/>
                  </a:lnTo>
                  <a:lnTo>
                    <a:pt x="1003" y="2317"/>
                  </a:lnTo>
                  <a:lnTo>
                    <a:pt x="980" y="2368"/>
                  </a:lnTo>
                  <a:lnTo>
                    <a:pt x="953" y="2419"/>
                  </a:lnTo>
                  <a:lnTo>
                    <a:pt x="926" y="2469"/>
                  </a:lnTo>
                  <a:lnTo>
                    <a:pt x="896" y="2519"/>
                  </a:lnTo>
                  <a:lnTo>
                    <a:pt x="868" y="2568"/>
                  </a:lnTo>
                  <a:lnTo>
                    <a:pt x="841" y="2618"/>
                  </a:lnTo>
                  <a:lnTo>
                    <a:pt x="817" y="2668"/>
                  </a:lnTo>
                  <a:lnTo>
                    <a:pt x="797" y="2718"/>
                  </a:lnTo>
                  <a:lnTo>
                    <a:pt x="784" y="2769"/>
                  </a:lnTo>
                  <a:lnTo>
                    <a:pt x="778" y="2818"/>
                  </a:lnTo>
                  <a:lnTo>
                    <a:pt x="775" y="2868"/>
                  </a:lnTo>
                  <a:lnTo>
                    <a:pt x="778" y="2919"/>
                  </a:lnTo>
                  <a:lnTo>
                    <a:pt x="782" y="2972"/>
                  </a:lnTo>
                  <a:lnTo>
                    <a:pt x="788" y="3025"/>
                  </a:lnTo>
                  <a:lnTo>
                    <a:pt x="796" y="3078"/>
                  </a:lnTo>
                  <a:lnTo>
                    <a:pt x="803" y="3131"/>
                  </a:lnTo>
                  <a:lnTo>
                    <a:pt x="808" y="3184"/>
                  </a:lnTo>
                  <a:lnTo>
                    <a:pt x="812" y="3235"/>
                  </a:lnTo>
                  <a:lnTo>
                    <a:pt x="813" y="3286"/>
                  </a:lnTo>
                  <a:lnTo>
                    <a:pt x="809" y="3334"/>
                  </a:lnTo>
                  <a:lnTo>
                    <a:pt x="800" y="3383"/>
                  </a:lnTo>
                  <a:lnTo>
                    <a:pt x="786" y="3427"/>
                  </a:lnTo>
                  <a:lnTo>
                    <a:pt x="763" y="3472"/>
                  </a:lnTo>
                  <a:lnTo>
                    <a:pt x="736" y="3512"/>
                  </a:lnTo>
                  <a:lnTo>
                    <a:pt x="703" y="3549"/>
                  </a:lnTo>
                  <a:lnTo>
                    <a:pt x="667" y="3586"/>
                  </a:lnTo>
                  <a:lnTo>
                    <a:pt x="628" y="3620"/>
                  </a:lnTo>
                  <a:lnTo>
                    <a:pt x="587" y="3652"/>
                  </a:lnTo>
                  <a:lnTo>
                    <a:pt x="544" y="3685"/>
                  </a:lnTo>
                  <a:lnTo>
                    <a:pt x="502" y="3717"/>
                  </a:lnTo>
                  <a:lnTo>
                    <a:pt x="460" y="3749"/>
                  </a:lnTo>
                  <a:lnTo>
                    <a:pt x="420" y="3783"/>
                  </a:lnTo>
                  <a:lnTo>
                    <a:pt x="382" y="3817"/>
                  </a:lnTo>
                  <a:lnTo>
                    <a:pt x="349" y="3854"/>
                  </a:lnTo>
                  <a:lnTo>
                    <a:pt x="319" y="3893"/>
                  </a:lnTo>
                  <a:lnTo>
                    <a:pt x="292" y="3939"/>
                  </a:lnTo>
                  <a:lnTo>
                    <a:pt x="269" y="3989"/>
                  </a:lnTo>
                  <a:lnTo>
                    <a:pt x="251" y="4042"/>
                  </a:lnTo>
                  <a:lnTo>
                    <a:pt x="234" y="4097"/>
                  </a:lnTo>
                  <a:lnTo>
                    <a:pt x="220" y="4154"/>
                  </a:lnTo>
                  <a:lnTo>
                    <a:pt x="204" y="4210"/>
                  </a:lnTo>
                  <a:lnTo>
                    <a:pt x="188" y="4265"/>
                  </a:lnTo>
                  <a:lnTo>
                    <a:pt x="171" y="4320"/>
                  </a:lnTo>
                  <a:lnTo>
                    <a:pt x="0" y="4320"/>
                  </a:lnTo>
                  <a:lnTo>
                    <a:pt x="17" y="4278"/>
                  </a:lnTo>
                  <a:lnTo>
                    <a:pt x="33" y="4232"/>
                  </a:lnTo>
                  <a:lnTo>
                    <a:pt x="46" y="4183"/>
                  </a:lnTo>
                  <a:lnTo>
                    <a:pt x="60" y="4131"/>
                  </a:lnTo>
                  <a:lnTo>
                    <a:pt x="75" y="4075"/>
                  </a:lnTo>
                  <a:lnTo>
                    <a:pt x="90" y="4019"/>
                  </a:lnTo>
                  <a:lnTo>
                    <a:pt x="109" y="3964"/>
                  </a:lnTo>
                  <a:lnTo>
                    <a:pt x="129" y="3909"/>
                  </a:lnTo>
                  <a:lnTo>
                    <a:pt x="156" y="3855"/>
                  </a:lnTo>
                  <a:lnTo>
                    <a:pt x="186" y="3804"/>
                  </a:lnTo>
                  <a:lnTo>
                    <a:pt x="222" y="3756"/>
                  </a:lnTo>
                  <a:lnTo>
                    <a:pt x="261" y="3713"/>
                  </a:lnTo>
                  <a:lnTo>
                    <a:pt x="303" y="3672"/>
                  </a:lnTo>
                  <a:lnTo>
                    <a:pt x="348" y="3634"/>
                  </a:lnTo>
                  <a:lnTo>
                    <a:pt x="392" y="3599"/>
                  </a:lnTo>
                  <a:lnTo>
                    <a:pt x="438" y="3565"/>
                  </a:lnTo>
                  <a:lnTo>
                    <a:pt x="482" y="3531"/>
                  </a:lnTo>
                  <a:lnTo>
                    <a:pt x="523" y="3499"/>
                  </a:lnTo>
                  <a:lnTo>
                    <a:pt x="561" y="3466"/>
                  </a:lnTo>
                  <a:lnTo>
                    <a:pt x="594" y="3434"/>
                  </a:lnTo>
                  <a:lnTo>
                    <a:pt x="620" y="3400"/>
                  </a:lnTo>
                  <a:lnTo>
                    <a:pt x="638" y="3367"/>
                  </a:lnTo>
                  <a:lnTo>
                    <a:pt x="647" y="3336"/>
                  </a:lnTo>
                  <a:lnTo>
                    <a:pt x="652" y="3302"/>
                  </a:lnTo>
                  <a:lnTo>
                    <a:pt x="654" y="3265"/>
                  </a:lnTo>
                  <a:lnTo>
                    <a:pt x="651" y="3224"/>
                  </a:lnTo>
                  <a:lnTo>
                    <a:pt x="647" y="3181"/>
                  </a:lnTo>
                  <a:lnTo>
                    <a:pt x="642" y="3137"/>
                  </a:lnTo>
                  <a:lnTo>
                    <a:pt x="637" y="3091"/>
                  </a:lnTo>
                  <a:lnTo>
                    <a:pt x="626" y="3021"/>
                  </a:lnTo>
                  <a:lnTo>
                    <a:pt x="620" y="2952"/>
                  </a:lnTo>
                  <a:lnTo>
                    <a:pt x="616" y="2881"/>
                  </a:lnTo>
                  <a:lnTo>
                    <a:pt x="618" y="2809"/>
                  </a:lnTo>
                  <a:lnTo>
                    <a:pt x="628" y="2737"/>
                  </a:lnTo>
                  <a:lnTo>
                    <a:pt x="642" y="2681"/>
                  </a:lnTo>
                  <a:lnTo>
                    <a:pt x="661" y="2626"/>
                  </a:lnTo>
                  <a:lnTo>
                    <a:pt x="685" y="2574"/>
                  </a:lnTo>
                  <a:lnTo>
                    <a:pt x="711" y="2521"/>
                  </a:lnTo>
                  <a:lnTo>
                    <a:pt x="739" y="2472"/>
                  </a:lnTo>
                  <a:lnTo>
                    <a:pt x="767" y="2423"/>
                  </a:lnTo>
                  <a:lnTo>
                    <a:pt x="791" y="2381"/>
                  </a:lnTo>
                  <a:lnTo>
                    <a:pt x="813" y="2342"/>
                  </a:lnTo>
                  <a:lnTo>
                    <a:pt x="834" y="2303"/>
                  </a:lnTo>
                  <a:lnTo>
                    <a:pt x="851" y="2265"/>
                  </a:lnTo>
                  <a:lnTo>
                    <a:pt x="864" y="2228"/>
                  </a:lnTo>
                  <a:lnTo>
                    <a:pt x="873" y="2194"/>
                  </a:lnTo>
                  <a:lnTo>
                    <a:pt x="876" y="2160"/>
                  </a:lnTo>
                  <a:lnTo>
                    <a:pt x="873" y="2126"/>
                  </a:lnTo>
                  <a:lnTo>
                    <a:pt x="864" y="2092"/>
                  </a:lnTo>
                  <a:lnTo>
                    <a:pt x="851" y="2055"/>
                  </a:lnTo>
                  <a:lnTo>
                    <a:pt x="834" y="2017"/>
                  </a:lnTo>
                  <a:lnTo>
                    <a:pt x="813" y="1978"/>
                  </a:lnTo>
                  <a:lnTo>
                    <a:pt x="791" y="1939"/>
                  </a:lnTo>
                  <a:lnTo>
                    <a:pt x="767" y="1897"/>
                  </a:lnTo>
                  <a:lnTo>
                    <a:pt x="739" y="1848"/>
                  </a:lnTo>
                  <a:lnTo>
                    <a:pt x="711" y="1799"/>
                  </a:lnTo>
                  <a:lnTo>
                    <a:pt x="685" y="1746"/>
                  </a:lnTo>
                  <a:lnTo>
                    <a:pt x="661" y="1694"/>
                  </a:lnTo>
                  <a:lnTo>
                    <a:pt x="642" y="1639"/>
                  </a:lnTo>
                  <a:lnTo>
                    <a:pt x="628" y="1583"/>
                  </a:lnTo>
                  <a:lnTo>
                    <a:pt x="618" y="1511"/>
                  </a:lnTo>
                  <a:lnTo>
                    <a:pt x="616" y="1439"/>
                  </a:lnTo>
                  <a:lnTo>
                    <a:pt x="620" y="1368"/>
                  </a:lnTo>
                  <a:lnTo>
                    <a:pt x="626" y="1299"/>
                  </a:lnTo>
                  <a:lnTo>
                    <a:pt x="637" y="1229"/>
                  </a:lnTo>
                  <a:lnTo>
                    <a:pt x="642" y="1183"/>
                  </a:lnTo>
                  <a:lnTo>
                    <a:pt x="647" y="1139"/>
                  </a:lnTo>
                  <a:lnTo>
                    <a:pt x="651" y="1096"/>
                  </a:lnTo>
                  <a:lnTo>
                    <a:pt x="654" y="1055"/>
                  </a:lnTo>
                  <a:lnTo>
                    <a:pt x="652" y="1018"/>
                  </a:lnTo>
                  <a:lnTo>
                    <a:pt x="647" y="984"/>
                  </a:lnTo>
                  <a:lnTo>
                    <a:pt x="638" y="953"/>
                  </a:lnTo>
                  <a:lnTo>
                    <a:pt x="620" y="920"/>
                  </a:lnTo>
                  <a:lnTo>
                    <a:pt x="594" y="886"/>
                  </a:lnTo>
                  <a:lnTo>
                    <a:pt x="561" y="854"/>
                  </a:lnTo>
                  <a:lnTo>
                    <a:pt x="523" y="822"/>
                  </a:lnTo>
                  <a:lnTo>
                    <a:pt x="482" y="789"/>
                  </a:lnTo>
                  <a:lnTo>
                    <a:pt x="438" y="755"/>
                  </a:lnTo>
                  <a:lnTo>
                    <a:pt x="392" y="721"/>
                  </a:lnTo>
                  <a:lnTo>
                    <a:pt x="348" y="686"/>
                  </a:lnTo>
                  <a:lnTo>
                    <a:pt x="303" y="648"/>
                  </a:lnTo>
                  <a:lnTo>
                    <a:pt x="261" y="607"/>
                  </a:lnTo>
                  <a:lnTo>
                    <a:pt x="222" y="564"/>
                  </a:lnTo>
                  <a:lnTo>
                    <a:pt x="186" y="516"/>
                  </a:lnTo>
                  <a:lnTo>
                    <a:pt x="156" y="465"/>
                  </a:lnTo>
                  <a:lnTo>
                    <a:pt x="129" y="411"/>
                  </a:lnTo>
                  <a:lnTo>
                    <a:pt x="109" y="356"/>
                  </a:lnTo>
                  <a:lnTo>
                    <a:pt x="90" y="301"/>
                  </a:lnTo>
                  <a:lnTo>
                    <a:pt x="75" y="245"/>
                  </a:lnTo>
                  <a:lnTo>
                    <a:pt x="60" y="189"/>
                  </a:lnTo>
                  <a:lnTo>
                    <a:pt x="46" y="137"/>
                  </a:lnTo>
                  <a:lnTo>
                    <a:pt x="33" y="88"/>
                  </a:lnTo>
                  <a:lnTo>
                    <a:pt x="17" y="4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</p:sp>
      </p:grpSp>
    </p:spTree>
    <p:extLst>
      <p:ext uri="{BB962C8B-B14F-4D97-AF65-F5344CB8AC3E}">
        <p14:creationId xmlns:p14="http://schemas.microsoft.com/office/powerpoint/2010/main" val="69740754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257300" y="2286000"/>
            <a:ext cx="4800600" cy="36195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647796" y="2286000"/>
            <a:ext cx="4800600" cy="36195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75B310-5023-4FF0-84B1-D829AC3B2B29}" type="datetimeFigureOut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3/15/2023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CB10C4-4CE0-4D71-9C85-A411492A1E37}" type="slidenum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‹#›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144049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2728" y="381000"/>
            <a:ext cx="10172700" cy="149351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51678" y="2199633"/>
            <a:ext cx="4800600" cy="632529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buNone/>
              <a:defRPr sz="1900" b="1" cap="all" spc="200" baseline="0">
                <a:solidFill>
                  <a:schemeClr val="tx2"/>
                </a:solidFill>
              </a:defRPr>
            </a:lvl1pPr>
            <a:lvl2pPr marL="457200" indent="0">
              <a:buNone/>
              <a:defRPr sz="19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257300" y="2909102"/>
            <a:ext cx="4800600" cy="299639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633864" y="2199633"/>
            <a:ext cx="4800600" cy="632529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buNone/>
              <a:defRPr sz="1900" b="1" cap="all" spc="200" baseline="0">
                <a:solidFill>
                  <a:schemeClr val="tx2"/>
                </a:solidFill>
              </a:defRPr>
            </a:lvl1pPr>
            <a:lvl2pPr marL="457200" indent="0">
              <a:buNone/>
              <a:defRPr sz="19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633864" y="2909102"/>
            <a:ext cx="4800600" cy="299639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75B310-5023-4FF0-84B1-D829AC3B2B29}" type="datetimeFigureOut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3/15/2023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CB10C4-4CE0-4D71-9C85-A411492A1E37}" type="slidenum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‹#›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039740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75B310-5023-4FF0-84B1-D829AC3B2B29}" type="datetimeFigureOut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3/15/2023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CB10C4-4CE0-4D71-9C85-A411492A1E37}" type="slidenum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‹#›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083089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75B310-5023-4FF0-84B1-D829AC3B2B29}" type="datetimeFigureOut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3/15/2023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CB10C4-4CE0-4D71-9C85-A411492A1E37}" type="slidenum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‹#›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09940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 11" title="right scallop background shape"/>
          <p:cNvSpPr/>
          <p:nvPr/>
        </p:nvSpPr>
        <p:spPr bwMode="auto">
          <a:xfrm>
            <a:off x="7389812" y="0"/>
            <a:ext cx="4802188" cy="6858000"/>
          </a:xfrm>
          <a:custGeom>
            <a:avLst/>
            <a:gdLst/>
            <a:ahLst/>
            <a:cxnLst/>
            <a:rect l="0" t="0" r="r" b="b"/>
            <a:pathLst>
              <a:path w="3025" h="4320">
                <a:moveTo>
                  <a:pt x="0" y="0"/>
                </a:moveTo>
                <a:lnTo>
                  <a:pt x="3025" y="0"/>
                </a:lnTo>
                <a:lnTo>
                  <a:pt x="3025" y="4320"/>
                </a:lnTo>
                <a:lnTo>
                  <a:pt x="0" y="4320"/>
                </a:lnTo>
                <a:lnTo>
                  <a:pt x="3" y="4278"/>
                </a:lnTo>
                <a:lnTo>
                  <a:pt x="8" y="4243"/>
                </a:lnTo>
                <a:lnTo>
                  <a:pt x="14" y="4210"/>
                </a:lnTo>
                <a:lnTo>
                  <a:pt x="24" y="4183"/>
                </a:lnTo>
                <a:lnTo>
                  <a:pt x="34" y="4156"/>
                </a:lnTo>
                <a:lnTo>
                  <a:pt x="46" y="4133"/>
                </a:lnTo>
                <a:lnTo>
                  <a:pt x="58" y="4109"/>
                </a:lnTo>
                <a:lnTo>
                  <a:pt x="69" y="4087"/>
                </a:lnTo>
                <a:lnTo>
                  <a:pt x="80" y="4062"/>
                </a:lnTo>
                <a:lnTo>
                  <a:pt x="90" y="4036"/>
                </a:lnTo>
                <a:lnTo>
                  <a:pt x="99" y="4007"/>
                </a:lnTo>
                <a:lnTo>
                  <a:pt x="106" y="3976"/>
                </a:lnTo>
                <a:lnTo>
                  <a:pt x="111" y="3938"/>
                </a:lnTo>
                <a:lnTo>
                  <a:pt x="113" y="3895"/>
                </a:lnTo>
                <a:lnTo>
                  <a:pt x="111" y="3851"/>
                </a:lnTo>
                <a:lnTo>
                  <a:pt x="106" y="3815"/>
                </a:lnTo>
                <a:lnTo>
                  <a:pt x="99" y="3782"/>
                </a:lnTo>
                <a:lnTo>
                  <a:pt x="90" y="3752"/>
                </a:lnTo>
                <a:lnTo>
                  <a:pt x="80" y="3726"/>
                </a:lnTo>
                <a:lnTo>
                  <a:pt x="68" y="3702"/>
                </a:lnTo>
                <a:lnTo>
                  <a:pt x="56" y="3679"/>
                </a:lnTo>
                <a:lnTo>
                  <a:pt x="44" y="3655"/>
                </a:lnTo>
                <a:lnTo>
                  <a:pt x="33" y="3630"/>
                </a:lnTo>
                <a:lnTo>
                  <a:pt x="22" y="3604"/>
                </a:lnTo>
                <a:lnTo>
                  <a:pt x="13" y="3575"/>
                </a:lnTo>
                <a:lnTo>
                  <a:pt x="7" y="3542"/>
                </a:lnTo>
                <a:lnTo>
                  <a:pt x="1" y="3504"/>
                </a:lnTo>
                <a:lnTo>
                  <a:pt x="0" y="3461"/>
                </a:lnTo>
                <a:lnTo>
                  <a:pt x="1" y="3418"/>
                </a:lnTo>
                <a:lnTo>
                  <a:pt x="7" y="3380"/>
                </a:lnTo>
                <a:lnTo>
                  <a:pt x="13" y="3347"/>
                </a:lnTo>
                <a:lnTo>
                  <a:pt x="22" y="3319"/>
                </a:lnTo>
                <a:lnTo>
                  <a:pt x="33" y="3292"/>
                </a:lnTo>
                <a:lnTo>
                  <a:pt x="44" y="3267"/>
                </a:lnTo>
                <a:lnTo>
                  <a:pt x="56" y="3244"/>
                </a:lnTo>
                <a:lnTo>
                  <a:pt x="68" y="3222"/>
                </a:lnTo>
                <a:lnTo>
                  <a:pt x="80" y="3197"/>
                </a:lnTo>
                <a:lnTo>
                  <a:pt x="90" y="3171"/>
                </a:lnTo>
                <a:lnTo>
                  <a:pt x="99" y="3142"/>
                </a:lnTo>
                <a:lnTo>
                  <a:pt x="106" y="3109"/>
                </a:lnTo>
                <a:lnTo>
                  <a:pt x="111" y="3071"/>
                </a:lnTo>
                <a:lnTo>
                  <a:pt x="113" y="3028"/>
                </a:lnTo>
                <a:lnTo>
                  <a:pt x="111" y="2985"/>
                </a:lnTo>
                <a:lnTo>
                  <a:pt x="106" y="2947"/>
                </a:lnTo>
                <a:lnTo>
                  <a:pt x="99" y="2914"/>
                </a:lnTo>
                <a:lnTo>
                  <a:pt x="90" y="2885"/>
                </a:lnTo>
                <a:lnTo>
                  <a:pt x="80" y="2858"/>
                </a:lnTo>
                <a:lnTo>
                  <a:pt x="68" y="2834"/>
                </a:lnTo>
                <a:lnTo>
                  <a:pt x="44" y="2787"/>
                </a:lnTo>
                <a:lnTo>
                  <a:pt x="33" y="2763"/>
                </a:lnTo>
                <a:lnTo>
                  <a:pt x="22" y="2736"/>
                </a:lnTo>
                <a:lnTo>
                  <a:pt x="13" y="2707"/>
                </a:lnTo>
                <a:lnTo>
                  <a:pt x="7" y="2674"/>
                </a:lnTo>
                <a:lnTo>
                  <a:pt x="1" y="2637"/>
                </a:lnTo>
                <a:lnTo>
                  <a:pt x="0" y="2593"/>
                </a:lnTo>
                <a:lnTo>
                  <a:pt x="1" y="2550"/>
                </a:lnTo>
                <a:lnTo>
                  <a:pt x="7" y="2512"/>
                </a:lnTo>
                <a:lnTo>
                  <a:pt x="13" y="2479"/>
                </a:lnTo>
                <a:lnTo>
                  <a:pt x="22" y="2451"/>
                </a:lnTo>
                <a:lnTo>
                  <a:pt x="33" y="2424"/>
                </a:lnTo>
                <a:lnTo>
                  <a:pt x="44" y="2401"/>
                </a:lnTo>
                <a:lnTo>
                  <a:pt x="68" y="2354"/>
                </a:lnTo>
                <a:lnTo>
                  <a:pt x="80" y="2329"/>
                </a:lnTo>
                <a:lnTo>
                  <a:pt x="90" y="2303"/>
                </a:lnTo>
                <a:lnTo>
                  <a:pt x="99" y="2274"/>
                </a:lnTo>
                <a:lnTo>
                  <a:pt x="106" y="2241"/>
                </a:lnTo>
                <a:lnTo>
                  <a:pt x="111" y="2203"/>
                </a:lnTo>
                <a:lnTo>
                  <a:pt x="113" y="2159"/>
                </a:lnTo>
                <a:lnTo>
                  <a:pt x="111" y="2117"/>
                </a:lnTo>
                <a:lnTo>
                  <a:pt x="106" y="2079"/>
                </a:lnTo>
                <a:lnTo>
                  <a:pt x="99" y="2046"/>
                </a:lnTo>
                <a:lnTo>
                  <a:pt x="90" y="2017"/>
                </a:lnTo>
                <a:lnTo>
                  <a:pt x="80" y="1991"/>
                </a:lnTo>
                <a:lnTo>
                  <a:pt x="68" y="1966"/>
                </a:lnTo>
                <a:lnTo>
                  <a:pt x="56" y="1943"/>
                </a:lnTo>
                <a:lnTo>
                  <a:pt x="44" y="1919"/>
                </a:lnTo>
                <a:lnTo>
                  <a:pt x="33" y="1896"/>
                </a:lnTo>
                <a:lnTo>
                  <a:pt x="22" y="1869"/>
                </a:lnTo>
                <a:lnTo>
                  <a:pt x="13" y="1841"/>
                </a:lnTo>
                <a:lnTo>
                  <a:pt x="7" y="1807"/>
                </a:lnTo>
                <a:lnTo>
                  <a:pt x="1" y="1770"/>
                </a:lnTo>
                <a:lnTo>
                  <a:pt x="0" y="1727"/>
                </a:lnTo>
                <a:lnTo>
                  <a:pt x="1" y="1683"/>
                </a:lnTo>
                <a:lnTo>
                  <a:pt x="7" y="1646"/>
                </a:lnTo>
                <a:lnTo>
                  <a:pt x="13" y="1613"/>
                </a:lnTo>
                <a:lnTo>
                  <a:pt x="22" y="1583"/>
                </a:lnTo>
                <a:lnTo>
                  <a:pt x="33" y="1557"/>
                </a:lnTo>
                <a:lnTo>
                  <a:pt x="44" y="1533"/>
                </a:lnTo>
                <a:lnTo>
                  <a:pt x="56" y="1509"/>
                </a:lnTo>
                <a:lnTo>
                  <a:pt x="68" y="1486"/>
                </a:lnTo>
                <a:lnTo>
                  <a:pt x="80" y="1461"/>
                </a:lnTo>
                <a:lnTo>
                  <a:pt x="90" y="1435"/>
                </a:lnTo>
                <a:lnTo>
                  <a:pt x="99" y="1406"/>
                </a:lnTo>
                <a:lnTo>
                  <a:pt x="106" y="1373"/>
                </a:lnTo>
                <a:lnTo>
                  <a:pt x="111" y="1335"/>
                </a:lnTo>
                <a:lnTo>
                  <a:pt x="113" y="1292"/>
                </a:lnTo>
                <a:lnTo>
                  <a:pt x="111" y="1249"/>
                </a:lnTo>
                <a:lnTo>
                  <a:pt x="106" y="1211"/>
                </a:lnTo>
                <a:lnTo>
                  <a:pt x="99" y="1178"/>
                </a:lnTo>
                <a:lnTo>
                  <a:pt x="90" y="1149"/>
                </a:lnTo>
                <a:lnTo>
                  <a:pt x="80" y="1123"/>
                </a:lnTo>
                <a:lnTo>
                  <a:pt x="68" y="1098"/>
                </a:lnTo>
                <a:lnTo>
                  <a:pt x="56" y="1076"/>
                </a:lnTo>
                <a:lnTo>
                  <a:pt x="44" y="1053"/>
                </a:lnTo>
                <a:lnTo>
                  <a:pt x="33" y="1028"/>
                </a:lnTo>
                <a:lnTo>
                  <a:pt x="22" y="1001"/>
                </a:lnTo>
                <a:lnTo>
                  <a:pt x="13" y="973"/>
                </a:lnTo>
                <a:lnTo>
                  <a:pt x="7" y="940"/>
                </a:lnTo>
                <a:lnTo>
                  <a:pt x="1" y="902"/>
                </a:lnTo>
                <a:lnTo>
                  <a:pt x="0" y="859"/>
                </a:lnTo>
                <a:lnTo>
                  <a:pt x="1" y="816"/>
                </a:lnTo>
                <a:lnTo>
                  <a:pt x="7" y="778"/>
                </a:lnTo>
                <a:lnTo>
                  <a:pt x="13" y="745"/>
                </a:lnTo>
                <a:lnTo>
                  <a:pt x="22" y="716"/>
                </a:lnTo>
                <a:lnTo>
                  <a:pt x="33" y="690"/>
                </a:lnTo>
                <a:lnTo>
                  <a:pt x="44" y="665"/>
                </a:lnTo>
                <a:lnTo>
                  <a:pt x="56" y="641"/>
                </a:lnTo>
                <a:lnTo>
                  <a:pt x="68" y="618"/>
                </a:lnTo>
                <a:lnTo>
                  <a:pt x="80" y="594"/>
                </a:lnTo>
                <a:lnTo>
                  <a:pt x="90" y="568"/>
                </a:lnTo>
                <a:lnTo>
                  <a:pt x="99" y="538"/>
                </a:lnTo>
                <a:lnTo>
                  <a:pt x="106" y="505"/>
                </a:lnTo>
                <a:lnTo>
                  <a:pt x="111" y="469"/>
                </a:lnTo>
                <a:lnTo>
                  <a:pt x="113" y="424"/>
                </a:lnTo>
                <a:lnTo>
                  <a:pt x="111" y="382"/>
                </a:lnTo>
                <a:lnTo>
                  <a:pt x="106" y="344"/>
                </a:lnTo>
                <a:lnTo>
                  <a:pt x="99" y="313"/>
                </a:lnTo>
                <a:lnTo>
                  <a:pt x="90" y="284"/>
                </a:lnTo>
                <a:lnTo>
                  <a:pt x="80" y="258"/>
                </a:lnTo>
                <a:lnTo>
                  <a:pt x="69" y="233"/>
                </a:lnTo>
                <a:lnTo>
                  <a:pt x="58" y="211"/>
                </a:lnTo>
                <a:lnTo>
                  <a:pt x="46" y="187"/>
                </a:lnTo>
                <a:lnTo>
                  <a:pt x="34" y="164"/>
                </a:lnTo>
                <a:lnTo>
                  <a:pt x="24" y="137"/>
                </a:lnTo>
                <a:lnTo>
                  <a:pt x="14" y="110"/>
                </a:lnTo>
                <a:lnTo>
                  <a:pt x="8" y="77"/>
                </a:lnTo>
                <a:lnTo>
                  <a:pt x="3" y="42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37884" y="457199"/>
            <a:ext cx="3092115" cy="1196671"/>
          </a:xfrm>
        </p:spPr>
        <p:txBody>
          <a:bodyPr anchor="b">
            <a:normAutofit/>
          </a:bodyPr>
          <a:lstStyle>
            <a:lvl1pPr>
              <a:lnSpc>
                <a:spcPct val="100000"/>
              </a:lnSpc>
              <a:defRPr sz="1900" b="1" i="0" cap="all" spc="300" baseline="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65051" y="920377"/>
            <a:ext cx="6158418" cy="4985124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37885" y="1741336"/>
            <a:ext cx="3092115" cy="4164164"/>
          </a:xfrm>
        </p:spPr>
        <p:txBody>
          <a:bodyPr/>
          <a:lstStyle>
            <a:lvl1pPr marL="0" indent="0">
              <a:lnSpc>
                <a:spcPct val="120000"/>
              </a:lnSpc>
              <a:spcBef>
                <a:spcPts val="1200"/>
              </a:spcBef>
              <a:buNone/>
              <a:defRPr sz="1600" baseline="0">
                <a:solidFill>
                  <a:schemeClr val="bg2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765051" y="6375679"/>
            <a:ext cx="1233355" cy="348462"/>
          </a:xfrm>
        </p:spPr>
        <p:txBody>
          <a:bodyPr/>
          <a:lstStyle/>
          <a:p>
            <a:fld id="{3275B310-5023-4FF0-84B1-D829AC3B2B29}" type="datetimeFigureOut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3/15/2023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2103620" y="6375679"/>
            <a:ext cx="3482179" cy="345796"/>
          </a:xfrm>
        </p:spPr>
        <p:txBody>
          <a:bodyPr/>
          <a:lstStyle/>
          <a:p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691014" y="6375679"/>
            <a:ext cx="1232456" cy="345796"/>
          </a:xfrm>
        </p:spPr>
        <p:txBody>
          <a:bodyPr/>
          <a:lstStyle/>
          <a:p>
            <a:fld id="{D9CB10C4-4CE0-4D71-9C85-A411492A1E37}" type="slidenum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‹#›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8" name="Rectangle 7" title="left edge border"/>
          <p:cNvSpPr/>
          <p:nvPr/>
        </p:nvSpPr>
        <p:spPr>
          <a:xfrm>
            <a:off x="0" y="0"/>
            <a:ext cx="283464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</p:spTree>
    <p:extLst>
      <p:ext uri="{BB962C8B-B14F-4D97-AF65-F5344CB8AC3E}">
        <p14:creationId xmlns:p14="http://schemas.microsoft.com/office/powerpoint/2010/main" val="15686811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96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75B310-5023-4FF0-84B1-D829AC3B2B29}" type="datetimeFigureOut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3/15/2023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CB10C4-4CE0-4D71-9C85-A411492A1E37}" type="slidenum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‹#›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671739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283464" y="0"/>
            <a:ext cx="7355585" cy="6857999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Freeform 11" title="right scallop background shape"/>
          <p:cNvSpPr/>
          <p:nvPr/>
        </p:nvSpPr>
        <p:spPr bwMode="auto">
          <a:xfrm>
            <a:off x="7389812" y="0"/>
            <a:ext cx="4802188" cy="6858000"/>
          </a:xfrm>
          <a:custGeom>
            <a:avLst/>
            <a:gdLst/>
            <a:ahLst/>
            <a:cxnLst/>
            <a:rect l="0" t="0" r="r" b="b"/>
            <a:pathLst>
              <a:path w="3025" h="4320">
                <a:moveTo>
                  <a:pt x="0" y="0"/>
                </a:moveTo>
                <a:lnTo>
                  <a:pt x="3025" y="0"/>
                </a:lnTo>
                <a:lnTo>
                  <a:pt x="3025" y="4320"/>
                </a:lnTo>
                <a:lnTo>
                  <a:pt x="0" y="4320"/>
                </a:lnTo>
                <a:lnTo>
                  <a:pt x="3" y="4278"/>
                </a:lnTo>
                <a:lnTo>
                  <a:pt x="8" y="4243"/>
                </a:lnTo>
                <a:lnTo>
                  <a:pt x="14" y="4210"/>
                </a:lnTo>
                <a:lnTo>
                  <a:pt x="24" y="4183"/>
                </a:lnTo>
                <a:lnTo>
                  <a:pt x="34" y="4156"/>
                </a:lnTo>
                <a:lnTo>
                  <a:pt x="46" y="4133"/>
                </a:lnTo>
                <a:lnTo>
                  <a:pt x="58" y="4109"/>
                </a:lnTo>
                <a:lnTo>
                  <a:pt x="69" y="4087"/>
                </a:lnTo>
                <a:lnTo>
                  <a:pt x="80" y="4062"/>
                </a:lnTo>
                <a:lnTo>
                  <a:pt x="90" y="4036"/>
                </a:lnTo>
                <a:lnTo>
                  <a:pt x="99" y="4007"/>
                </a:lnTo>
                <a:lnTo>
                  <a:pt x="106" y="3976"/>
                </a:lnTo>
                <a:lnTo>
                  <a:pt x="111" y="3938"/>
                </a:lnTo>
                <a:lnTo>
                  <a:pt x="113" y="3895"/>
                </a:lnTo>
                <a:lnTo>
                  <a:pt x="111" y="3851"/>
                </a:lnTo>
                <a:lnTo>
                  <a:pt x="106" y="3815"/>
                </a:lnTo>
                <a:lnTo>
                  <a:pt x="99" y="3782"/>
                </a:lnTo>
                <a:lnTo>
                  <a:pt x="90" y="3752"/>
                </a:lnTo>
                <a:lnTo>
                  <a:pt x="80" y="3726"/>
                </a:lnTo>
                <a:lnTo>
                  <a:pt x="68" y="3702"/>
                </a:lnTo>
                <a:lnTo>
                  <a:pt x="56" y="3679"/>
                </a:lnTo>
                <a:lnTo>
                  <a:pt x="44" y="3655"/>
                </a:lnTo>
                <a:lnTo>
                  <a:pt x="33" y="3630"/>
                </a:lnTo>
                <a:lnTo>
                  <a:pt x="22" y="3604"/>
                </a:lnTo>
                <a:lnTo>
                  <a:pt x="13" y="3575"/>
                </a:lnTo>
                <a:lnTo>
                  <a:pt x="7" y="3542"/>
                </a:lnTo>
                <a:lnTo>
                  <a:pt x="1" y="3504"/>
                </a:lnTo>
                <a:lnTo>
                  <a:pt x="0" y="3461"/>
                </a:lnTo>
                <a:lnTo>
                  <a:pt x="1" y="3418"/>
                </a:lnTo>
                <a:lnTo>
                  <a:pt x="7" y="3380"/>
                </a:lnTo>
                <a:lnTo>
                  <a:pt x="13" y="3347"/>
                </a:lnTo>
                <a:lnTo>
                  <a:pt x="22" y="3319"/>
                </a:lnTo>
                <a:lnTo>
                  <a:pt x="33" y="3292"/>
                </a:lnTo>
                <a:lnTo>
                  <a:pt x="44" y="3267"/>
                </a:lnTo>
                <a:lnTo>
                  <a:pt x="56" y="3244"/>
                </a:lnTo>
                <a:lnTo>
                  <a:pt x="68" y="3222"/>
                </a:lnTo>
                <a:lnTo>
                  <a:pt x="80" y="3197"/>
                </a:lnTo>
                <a:lnTo>
                  <a:pt x="90" y="3171"/>
                </a:lnTo>
                <a:lnTo>
                  <a:pt x="99" y="3142"/>
                </a:lnTo>
                <a:lnTo>
                  <a:pt x="106" y="3109"/>
                </a:lnTo>
                <a:lnTo>
                  <a:pt x="111" y="3071"/>
                </a:lnTo>
                <a:lnTo>
                  <a:pt x="113" y="3028"/>
                </a:lnTo>
                <a:lnTo>
                  <a:pt x="111" y="2985"/>
                </a:lnTo>
                <a:lnTo>
                  <a:pt x="106" y="2947"/>
                </a:lnTo>
                <a:lnTo>
                  <a:pt x="99" y="2914"/>
                </a:lnTo>
                <a:lnTo>
                  <a:pt x="90" y="2885"/>
                </a:lnTo>
                <a:lnTo>
                  <a:pt x="80" y="2858"/>
                </a:lnTo>
                <a:lnTo>
                  <a:pt x="68" y="2834"/>
                </a:lnTo>
                <a:lnTo>
                  <a:pt x="44" y="2787"/>
                </a:lnTo>
                <a:lnTo>
                  <a:pt x="33" y="2763"/>
                </a:lnTo>
                <a:lnTo>
                  <a:pt x="22" y="2736"/>
                </a:lnTo>
                <a:lnTo>
                  <a:pt x="13" y="2707"/>
                </a:lnTo>
                <a:lnTo>
                  <a:pt x="7" y="2674"/>
                </a:lnTo>
                <a:lnTo>
                  <a:pt x="1" y="2637"/>
                </a:lnTo>
                <a:lnTo>
                  <a:pt x="0" y="2593"/>
                </a:lnTo>
                <a:lnTo>
                  <a:pt x="1" y="2550"/>
                </a:lnTo>
                <a:lnTo>
                  <a:pt x="7" y="2512"/>
                </a:lnTo>
                <a:lnTo>
                  <a:pt x="13" y="2479"/>
                </a:lnTo>
                <a:lnTo>
                  <a:pt x="22" y="2451"/>
                </a:lnTo>
                <a:lnTo>
                  <a:pt x="33" y="2424"/>
                </a:lnTo>
                <a:lnTo>
                  <a:pt x="44" y="2401"/>
                </a:lnTo>
                <a:lnTo>
                  <a:pt x="68" y="2354"/>
                </a:lnTo>
                <a:lnTo>
                  <a:pt x="80" y="2329"/>
                </a:lnTo>
                <a:lnTo>
                  <a:pt x="90" y="2303"/>
                </a:lnTo>
                <a:lnTo>
                  <a:pt x="99" y="2274"/>
                </a:lnTo>
                <a:lnTo>
                  <a:pt x="106" y="2241"/>
                </a:lnTo>
                <a:lnTo>
                  <a:pt x="111" y="2203"/>
                </a:lnTo>
                <a:lnTo>
                  <a:pt x="113" y="2159"/>
                </a:lnTo>
                <a:lnTo>
                  <a:pt x="111" y="2117"/>
                </a:lnTo>
                <a:lnTo>
                  <a:pt x="106" y="2079"/>
                </a:lnTo>
                <a:lnTo>
                  <a:pt x="99" y="2046"/>
                </a:lnTo>
                <a:lnTo>
                  <a:pt x="90" y="2017"/>
                </a:lnTo>
                <a:lnTo>
                  <a:pt x="80" y="1991"/>
                </a:lnTo>
                <a:lnTo>
                  <a:pt x="68" y="1966"/>
                </a:lnTo>
                <a:lnTo>
                  <a:pt x="56" y="1943"/>
                </a:lnTo>
                <a:lnTo>
                  <a:pt x="44" y="1919"/>
                </a:lnTo>
                <a:lnTo>
                  <a:pt x="33" y="1896"/>
                </a:lnTo>
                <a:lnTo>
                  <a:pt x="22" y="1869"/>
                </a:lnTo>
                <a:lnTo>
                  <a:pt x="13" y="1841"/>
                </a:lnTo>
                <a:lnTo>
                  <a:pt x="7" y="1807"/>
                </a:lnTo>
                <a:lnTo>
                  <a:pt x="1" y="1770"/>
                </a:lnTo>
                <a:lnTo>
                  <a:pt x="0" y="1727"/>
                </a:lnTo>
                <a:lnTo>
                  <a:pt x="1" y="1683"/>
                </a:lnTo>
                <a:lnTo>
                  <a:pt x="7" y="1646"/>
                </a:lnTo>
                <a:lnTo>
                  <a:pt x="13" y="1613"/>
                </a:lnTo>
                <a:lnTo>
                  <a:pt x="22" y="1583"/>
                </a:lnTo>
                <a:lnTo>
                  <a:pt x="33" y="1557"/>
                </a:lnTo>
                <a:lnTo>
                  <a:pt x="44" y="1533"/>
                </a:lnTo>
                <a:lnTo>
                  <a:pt x="56" y="1509"/>
                </a:lnTo>
                <a:lnTo>
                  <a:pt x="68" y="1486"/>
                </a:lnTo>
                <a:lnTo>
                  <a:pt x="80" y="1461"/>
                </a:lnTo>
                <a:lnTo>
                  <a:pt x="90" y="1435"/>
                </a:lnTo>
                <a:lnTo>
                  <a:pt x="99" y="1406"/>
                </a:lnTo>
                <a:lnTo>
                  <a:pt x="106" y="1373"/>
                </a:lnTo>
                <a:lnTo>
                  <a:pt x="111" y="1335"/>
                </a:lnTo>
                <a:lnTo>
                  <a:pt x="113" y="1292"/>
                </a:lnTo>
                <a:lnTo>
                  <a:pt x="111" y="1249"/>
                </a:lnTo>
                <a:lnTo>
                  <a:pt x="106" y="1211"/>
                </a:lnTo>
                <a:lnTo>
                  <a:pt x="99" y="1178"/>
                </a:lnTo>
                <a:lnTo>
                  <a:pt x="90" y="1149"/>
                </a:lnTo>
                <a:lnTo>
                  <a:pt x="80" y="1123"/>
                </a:lnTo>
                <a:lnTo>
                  <a:pt x="68" y="1098"/>
                </a:lnTo>
                <a:lnTo>
                  <a:pt x="56" y="1076"/>
                </a:lnTo>
                <a:lnTo>
                  <a:pt x="44" y="1053"/>
                </a:lnTo>
                <a:lnTo>
                  <a:pt x="33" y="1028"/>
                </a:lnTo>
                <a:lnTo>
                  <a:pt x="22" y="1001"/>
                </a:lnTo>
                <a:lnTo>
                  <a:pt x="13" y="973"/>
                </a:lnTo>
                <a:lnTo>
                  <a:pt x="7" y="940"/>
                </a:lnTo>
                <a:lnTo>
                  <a:pt x="1" y="902"/>
                </a:lnTo>
                <a:lnTo>
                  <a:pt x="0" y="859"/>
                </a:lnTo>
                <a:lnTo>
                  <a:pt x="1" y="816"/>
                </a:lnTo>
                <a:lnTo>
                  <a:pt x="7" y="778"/>
                </a:lnTo>
                <a:lnTo>
                  <a:pt x="13" y="745"/>
                </a:lnTo>
                <a:lnTo>
                  <a:pt x="22" y="716"/>
                </a:lnTo>
                <a:lnTo>
                  <a:pt x="33" y="690"/>
                </a:lnTo>
                <a:lnTo>
                  <a:pt x="44" y="665"/>
                </a:lnTo>
                <a:lnTo>
                  <a:pt x="56" y="641"/>
                </a:lnTo>
                <a:lnTo>
                  <a:pt x="68" y="618"/>
                </a:lnTo>
                <a:lnTo>
                  <a:pt x="80" y="594"/>
                </a:lnTo>
                <a:lnTo>
                  <a:pt x="90" y="568"/>
                </a:lnTo>
                <a:lnTo>
                  <a:pt x="99" y="538"/>
                </a:lnTo>
                <a:lnTo>
                  <a:pt x="106" y="505"/>
                </a:lnTo>
                <a:lnTo>
                  <a:pt x="111" y="469"/>
                </a:lnTo>
                <a:lnTo>
                  <a:pt x="113" y="424"/>
                </a:lnTo>
                <a:lnTo>
                  <a:pt x="111" y="382"/>
                </a:lnTo>
                <a:lnTo>
                  <a:pt x="106" y="344"/>
                </a:lnTo>
                <a:lnTo>
                  <a:pt x="99" y="313"/>
                </a:lnTo>
                <a:lnTo>
                  <a:pt x="90" y="284"/>
                </a:lnTo>
                <a:lnTo>
                  <a:pt x="80" y="258"/>
                </a:lnTo>
                <a:lnTo>
                  <a:pt x="69" y="233"/>
                </a:lnTo>
                <a:lnTo>
                  <a:pt x="58" y="211"/>
                </a:lnTo>
                <a:lnTo>
                  <a:pt x="46" y="187"/>
                </a:lnTo>
                <a:lnTo>
                  <a:pt x="34" y="164"/>
                </a:lnTo>
                <a:lnTo>
                  <a:pt x="24" y="137"/>
                </a:lnTo>
                <a:lnTo>
                  <a:pt x="14" y="110"/>
                </a:lnTo>
                <a:lnTo>
                  <a:pt x="8" y="77"/>
                </a:lnTo>
                <a:lnTo>
                  <a:pt x="3" y="42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</p:sp>
      <p:sp>
        <p:nvSpPr>
          <p:cNvPr id="12" name="Rectangle 11" title="left edge border"/>
          <p:cNvSpPr/>
          <p:nvPr/>
        </p:nvSpPr>
        <p:spPr>
          <a:xfrm>
            <a:off x="0" y="0"/>
            <a:ext cx="283464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37883" y="457200"/>
            <a:ext cx="3092117" cy="1196670"/>
          </a:xfrm>
        </p:spPr>
        <p:txBody>
          <a:bodyPr anchor="b">
            <a:normAutofit/>
          </a:bodyPr>
          <a:lstStyle>
            <a:lvl1pPr>
              <a:lnSpc>
                <a:spcPct val="100000"/>
              </a:lnSpc>
              <a:defRPr sz="1900" b="1" i="0" spc="300" baseline="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37883" y="1741336"/>
            <a:ext cx="3092117" cy="4164164"/>
          </a:xfrm>
        </p:spPr>
        <p:txBody>
          <a:bodyPr/>
          <a:lstStyle>
            <a:lvl1pPr marL="0" indent="0">
              <a:lnSpc>
                <a:spcPct val="120000"/>
              </a:lnSpc>
              <a:spcBef>
                <a:spcPts val="1200"/>
              </a:spcBef>
              <a:buNone/>
              <a:defRPr sz="1600" baseline="0">
                <a:solidFill>
                  <a:schemeClr val="bg2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765950" y="6375679"/>
            <a:ext cx="1232456" cy="348462"/>
          </a:xfrm>
        </p:spPr>
        <p:txBody>
          <a:bodyPr/>
          <a:lstStyle/>
          <a:p>
            <a:fld id="{3275B310-5023-4FF0-84B1-D829AC3B2B29}" type="datetimeFigureOut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3/15/2023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2103621" y="6375679"/>
            <a:ext cx="3482178" cy="345796"/>
          </a:xfrm>
        </p:spPr>
        <p:txBody>
          <a:bodyPr/>
          <a:lstStyle/>
          <a:p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687568" y="6375679"/>
            <a:ext cx="1234440" cy="345796"/>
          </a:xfrm>
        </p:spPr>
        <p:txBody>
          <a:bodyPr/>
          <a:lstStyle/>
          <a:p>
            <a:fld id="{D9CB10C4-4CE0-4D71-9C85-A411492A1E37}" type="slidenum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‹#›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262600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75B310-5023-4FF0-84B1-D829AC3B2B29}" type="datetimeFigureOut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3/15/2023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CB10C4-4CE0-4D71-9C85-A411492A1E37}" type="slidenum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‹#›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2049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0066321" y="382386"/>
            <a:ext cx="1492132" cy="5600404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257300" y="382385"/>
            <a:ext cx="8392585" cy="560040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75B310-5023-4FF0-84B1-D829AC3B2B29}" type="datetimeFigureOut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3/15/2023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CB10C4-4CE0-4D71-9C85-A411492A1E37}" type="slidenum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‹#›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453722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42929" y="1073888"/>
            <a:ext cx="8187071" cy="4064627"/>
          </a:xfrm>
        </p:spPr>
        <p:txBody>
          <a:bodyPr anchor="b">
            <a:normAutofit/>
          </a:bodyPr>
          <a:lstStyle>
            <a:lvl1pPr>
              <a:defRPr sz="8400" spc="800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242930" y="5159781"/>
            <a:ext cx="7017488" cy="95113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2000" b="1" i="0" cap="all" spc="400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236546" y="6375679"/>
            <a:ext cx="1493947" cy="348462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fld id="{3275B310-5023-4FF0-84B1-D829AC3B2B29}" type="datetimeFigureOut">
              <a:rPr lang="en-US" smtClean="0">
                <a:solidFill>
                  <a:srgbClr val="FFFFFF"/>
                </a:solidFill>
              </a:rPr>
              <a:pPr/>
              <a:t>3/15/2023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279064" y="6375679"/>
            <a:ext cx="4114800" cy="345796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942434" y="6375679"/>
            <a:ext cx="1487566" cy="345796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fld id="{D9CB10C4-4CE0-4D71-9C85-A411492A1E37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grpSp>
        <p:nvGrpSpPr>
          <p:cNvPr id="7" name="Group 6" title="left scallop shape"/>
          <p:cNvGrpSpPr/>
          <p:nvPr/>
        </p:nvGrpSpPr>
        <p:grpSpPr>
          <a:xfrm>
            <a:off x="0" y="0"/>
            <a:ext cx="2814638" cy="6858000"/>
            <a:chOff x="0" y="0"/>
            <a:chExt cx="2814638" cy="6858000"/>
          </a:xfrm>
        </p:grpSpPr>
        <p:sp>
          <p:nvSpPr>
            <p:cNvPr id="11" name="Freeform 6" title="left scallop shape"/>
            <p:cNvSpPr/>
            <p:nvPr/>
          </p:nvSpPr>
          <p:spPr bwMode="auto">
            <a:xfrm>
              <a:off x="0" y="0"/>
              <a:ext cx="2814638" cy="6858000"/>
            </a:xfrm>
            <a:custGeom>
              <a:avLst/>
              <a:gdLst/>
              <a:ahLst/>
              <a:cxnLst/>
              <a:rect l="0" t="0" r="r" b="b"/>
              <a:pathLst>
                <a:path w="1773" h="4320">
                  <a:moveTo>
                    <a:pt x="0" y="0"/>
                  </a:moveTo>
                  <a:lnTo>
                    <a:pt x="891" y="0"/>
                  </a:lnTo>
                  <a:lnTo>
                    <a:pt x="906" y="56"/>
                  </a:lnTo>
                  <a:lnTo>
                    <a:pt x="921" y="111"/>
                  </a:lnTo>
                  <a:lnTo>
                    <a:pt x="938" y="165"/>
                  </a:lnTo>
                  <a:lnTo>
                    <a:pt x="957" y="217"/>
                  </a:lnTo>
                  <a:lnTo>
                    <a:pt x="980" y="266"/>
                  </a:lnTo>
                  <a:lnTo>
                    <a:pt x="1007" y="312"/>
                  </a:lnTo>
                  <a:lnTo>
                    <a:pt x="1036" y="351"/>
                  </a:lnTo>
                  <a:lnTo>
                    <a:pt x="1069" y="387"/>
                  </a:lnTo>
                  <a:lnTo>
                    <a:pt x="1105" y="422"/>
                  </a:lnTo>
                  <a:lnTo>
                    <a:pt x="1145" y="456"/>
                  </a:lnTo>
                  <a:lnTo>
                    <a:pt x="1185" y="487"/>
                  </a:lnTo>
                  <a:lnTo>
                    <a:pt x="1227" y="520"/>
                  </a:lnTo>
                  <a:lnTo>
                    <a:pt x="1270" y="551"/>
                  </a:lnTo>
                  <a:lnTo>
                    <a:pt x="1311" y="584"/>
                  </a:lnTo>
                  <a:lnTo>
                    <a:pt x="1352" y="617"/>
                  </a:lnTo>
                  <a:lnTo>
                    <a:pt x="1390" y="651"/>
                  </a:lnTo>
                  <a:lnTo>
                    <a:pt x="1425" y="687"/>
                  </a:lnTo>
                  <a:lnTo>
                    <a:pt x="1456" y="725"/>
                  </a:lnTo>
                  <a:lnTo>
                    <a:pt x="1484" y="765"/>
                  </a:lnTo>
                  <a:lnTo>
                    <a:pt x="1505" y="808"/>
                  </a:lnTo>
                  <a:lnTo>
                    <a:pt x="1521" y="856"/>
                  </a:lnTo>
                  <a:lnTo>
                    <a:pt x="1530" y="907"/>
                  </a:lnTo>
                  <a:lnTo>
                    <a:pt x="1534" y="960"/>
                  </a:lnTo>
                  <a:lnTo>
                    <a:pt x="1534" y="1013"/>
                  </a:lnTo>
                  <a:lnTo>
                    <a:pt x="1530" y="1068"/>
                  </a:lnTo>
                  <a:lnTo>
                    <a:pt x="1523" y="1125"/>
                  </a:lnTo>
                  <a:lnTo>
                    <a:pt x="1515" y="1181"/>
                  </a:lnTo>
                  <a:lnTo>
                    <a:pt x="1508" y="1237"/>
                  </a:lnTo>
                  <a:lnTo>
                    <a:pt x="1501" y="1293"/>
                  </a:lnTo>
                  <a:lnTo>
                    <a:pt x="1496" y="1350"/>
                  </a:lnTo>
                  <a:lnTo>
                    <a:pt x="1494" y="1405"/>
                  </a:lnTo>
                  <a:lnTo>
                    <a:pt x="1497" y="1458"/>
                  </a:lnTo>
                  <a:lnTo>
                    <a:pt x="1504" y="1511"/>
                  </a:lnTo>
                  <a:lnTo>
                    <a:pt x="1517" y="1560"/>
                  </a:lnTo>
                  <a:lnTo>
                    <a:pt x="1535" y="1610"/>
                  </a:lnTo>
                  <a:lnTo>
                    <a:pt x="1557" y="1659"/>
                  </a:lnTo>
                  <a:lnTo>
                    <a:pt x="1583" y="1708"/>
                  </a:lnTo>
                  <a:lnTo>
                    <a:pt x="1611" y="1757"/>
                  </a:lnTo>
                  <a:lnTo>
                    <a:pt x="1640" y="1807"/>
                  </a:lnTo>
                  <a:lnTo>
                    <a:pt x="1669" y="1855"/>
                  </a:lnTo>
                  <a:lnTo>
                    <a:pt x="1696" y="1905"/>
                  </a:lnTo>
                  <a:lnTo>
                    <a:pt x="1721" y="1954"/>
                  </a:lnTo>
                  <a:lnTo>
                    <a:pt x="1742" y="2006"/>
                  </a:lnTo>
                  <a:lnTo>
                    <a:pt x="1759" y="2057"/>
                  </a:lnTo>
                  <a:lnTo>
                    <a:pt x="1769" y="2108"/>
                  </a:lnTo>
                  <a:lnTo>
                    <a:pt x="1773" y="2160"/>
                  </a:lnTo>
                  <a:lnTo>
                    <a:pt x="1769" y="2212"/>
                  </a:lnTo>
                  <a:lnTo>
                    <a:pt x="1759" y="2263"/>
                  </a:lnTo>
                  <a:lnTo>
                    <a:pt x="1742" y="2314"/>
                  </a:lnTo>
                  <a:lnTo>
                    <a:pt x="1721" y="2366"/>
                  </a:lnTo>
                  <a:lnTo>
                    <a:pt x="1696" y="2415"/>
                  </a:lnTo>
                  <a:lnTo>
                    <a:pt x="1669" y="2465"/>
                  </a:lnTo>
                  <a:lnTo>
                    <a:pt x="1640" y="2513"/>
                  </a:lnTo>
                  <a:lnTo>
                    <a:pt x="1611" y="2563"/>
                  </a:lnTo>
                  <a:lnTo>
                    <a:pt x="1583" y="2612"/>
                  </a:lnTo>
                  <a:lnTo>
                    <a:pt x="1557" y="2661"/>
                  </a:lnTo>
                  <a:lnTo>
                    <a:pt x="1535" y="2710"/>
                  </a:lnTo>
                  <a:lnTo>
                    <a:pt x="1517" y="2760"/>
                  </a:lnTo>
                  <a:lnTo>
                    <a:pt x="1504" y="2809"/>
                  </a:lnTo>
                  <a:lnTo>
                    <a:pt x="1497" y="2862"/>
                  </a:lnTo>
                  <a:lnTo>
                    <a:pt x="1494" y="2915"/>
                  </a:lnTo>
                  <a:lnTo>
                    <a:pt x="1496" y="2970"/>
                  </a:lnTo>
                  <a:lnTo>
                    <a:pt x="1501" y="3027"/>
                  </a:lnTo>
                  <a:lnTo>
                    <a:pt x="1508" y="3083"/>
                  </a:lnTo>
                  <a:lnTo>
                    <a:pt x="1515" y="3139"/>
                  </a:lnTo>
                  <a:lnTo>
                    <a:pt x="1523" y="3195"/>
                  </a:lnTo>
                  <a:lnTo>
                    <a:pt x="1530" y="3252"/>
                  </a:lnTo>
                  <a:lnTo>
                    <a:pt x="1534" y="3307"/>
                  </a:lnTo>
                  <a:lnTo>
                    <a:pt x="1534" y="3360"/>
                  </a:lnTo>
                  <a:lnTo>
                    <a:pt x="1530" y="3413"/>
                  </a:lnTo>
                  <a:lnTo>
                    <a:pt x="1521" y="3464"/>
                  </a:lnTo>
                  <a:lnTo>
                    <a:pt x="1505" y="3512"/>
                  </a:lnTo>
                  <a:lnTo>
                    <a:pt x="1484" y="3555"/>
                  </a:lnTo>
                  <a:lnTo>
                    <a:pt x="1456" y="3595"/>
                  </a:lnTo>
                  <a:lnTo>
                    <a:pt x="1425" y="3633"/>
                  </a:lnTo>
                  <a:lnTo>
                    <a:pt x="1390" y="3669"/>
                  </a:lnTo>
                  <a:lnTo>
                    <a:pt x="1352" y="3703"/>
                  </a:lnTo>
                  <a:lnTo>
                    <a:pt x="1311" y="3736"/>
                  </a:lnTo>
                  <a:lnTo>
                    <a:pt x="1270" y="3769"/>
                  </a:lnTo>
                  <a:lnTo>
                    <a:pt x="1227" y="3800"/>
                  </a:lnTo>
                  <a:lnTo>
                    <a:pt x="1185" y="3833"/>
                  </a:lnTo>
                  <a:lnTo>
                    <a:pt x="1145" y="3864"/>
                  </a:lnTo>
                  <a:lnTo>
                    <a:pt x="1105" y="3898"/>
                  </a:lnTo>
                  <a:lnTo>
                    <a:pt x="1069" y="3933"/>
                  </a:lnTo>
                  <a:lnTo>
                    <a:pt x="1036" y="3969"/>
                  </a:lnTo>
                  <a:lnTo>
                    <a:pt x="1007" y="4008"/>
                  </a:lnTo>
                  <a:lnTo>
                    <a:pt x="980" y="4054"/>
                  </a:lnTo>
                  <a:lnTo>
                    <a:pt x="957" y="4103"/>
                  </a:lnTo>
                  <a:lnTo>
                    <a:pt x="938" y="4155"/>
                  </a:lnTo>
                  <a:lnTo>
                    <a:pt x="921" y="4209"/>
                  </a:lnTo>
                  <a:lnTo>
                    <a:pt x="906" y="4264"/>
                  </a:lnTo>
                  <a:lnTo>
                    <a:pt x="891" y="4320"/>
                  </a:lnTo>
                  <a:lnTo>
                    <a:pt x="0" y="432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</p:sp>
        <p:sp>
          <p:nvSpPr>
            <p:cNvPr id="16" name="Freeform 11" title="left scallop inline"/>
            <p:cNvSpPr/>
            <p:nvPr/>
          </p:nvSpPr>
          <p:spPr bwMode="auto">
            <a:xfrm>
              <a:off x="874382" y="0"/>
              <a:ext cx="1646238" cy="6858000"/>
            </a:xfrm>
            <a:custGeom>
              <a:avLst/>
              <a:gdLst/>
              <a:ahLst/>
              <a:cxnLst/>
              <a:rect l="0" t="0" r="r" b="b"/>
              <a:pathLst>
                <a:path w="1037" h="4320">
                  <a:moveTo>
                    <a:pt x="0" y="0"/>
                  </a:moveTo>
                  <a:lnTo>
                    <a:pt x="171" y="0"/>
                  </a:lnTo>
                  <a:lnTo>
                    <a:pt x="188" y="55"/>
                  </a:lnTo>
                  <a:lnTo>
                    <a:pt x="204" y="110"/>
                  </a:lnTo>
                  <a:lnTo>
                    <a:pt x="220" y="166"/>
                  </a:lnTo>
                  <a:lnTo>
                    <a:pt x="234" y="223"/>
                  </a:lnTo>
                  <a:lnTo>
                    <a:pt x="251" y="278"/>
                  </a:lnTo>
                  <a:lnTo>
                    <a:pt x="269" y="331"/>
                  </a:lnTo>
                  <a:lnTo>
                    <a:pt x="292" y="381"/>
                  </a:lnTo>
                  <a:lnTo>
                    <a:pt x="319" y="427"/>
                  </a:lnTo>
                  <a:lnTo>
                    <a:pt x="349" y="466"/>
                  </a:lnTo>
                  <a:lnTo>
                    <a:pt x="382" y="503"/>
                  </a:lnTo>
                  <a:lnTo>
                    <a:pt x="420" y="537"/>
                  </a:lnTo>
                  <a:lnTo>
                    <a:pt x="460" y="571"/>
                  </a:lnTo>
                  <a:lnTo>
                    <a:pt x="502" y="603"/>
                  </a:lnTo>
                  <a:lnTo>
                    <a:pt x="544" y="635"/>
                  </a:lnTo>
                  <a:lnTo>
                    <a:pt x="587" y="668"/>
                  </a:lnTo>
                  <a:lnTo>
                    <a:pt x="628" y="700"/>
                  </a:lnTo>
                  <a:lnTo>
                    <a:pt x="667" y="734"/>
                  </a:lnTo>
                  <a:lnTo>
                    <a:pt x="703" y="771"/>
                  </a:lnTo>
                  <a:lnTo>
                    <a:pt x="736" y="808"/>
                  </a:lnTo>
                  <a:lnTo>
                    <a:pt x="763" y="848"/>
                  </a:lnTo>
                  <a:lnTo>
                    <a:pt x="786" y="893"/>
                  </a:lnTo>
                  <a:lnTo>
                    <a:pt x="800" y="937"/>
                  </a:lnTo>
                  <a:lnTo>
                    <a:pt x="809" y="986"/>
                  </a:lnTo>
                  <a:lnTo>
                    <a:pt x="813" y="1034"/>
                  </a:lnTo>
                  <a:lnTo>
                    <a:pt x="812" y="1085"/>
                  </a:lnTo>
                  <a:lnTo>
                    <a:pt x="808" y="1136"/>
                  </a:lnTo>
                  <a:lnTo>
                    <a:pt x="803" y="1189"/>
                  </a:lnTo>
                  <a:lnTo>
                    <a:pt x="796" y="1242"/>
                  </a:lnTo>
                  <a:lnTo>
                    <a:pt x="788" y="1295"/>
                  </a:lnTo>
                  <a:lnTo>
                    <a:pt x="782" y="1348"/>
                  </a:lnTo>
                  <a:lnTo>
                    <a:pt x="778" y="1401"/>
                  </a:lnTo>
                  <a:lnTo>
                    <a:pt x="775" y="1452"/>
                  </a:lnTo>
                  <a:lnTo>
                    <a:pt x="778" y="1502"/>
                  </a:lnTo>
                  <a:lnTo>
                    <a:pt x="784" y="1551"/>
                  </a:lnTo>
                  <a:lnTo>
                    <a:pt x="797" y="1602"/>
                  </a:lnTo>
                  <a:lnTo>
                    <a:pt x="817" y="1652"/>
                  </a:lnTo>
                  <a:lnTo>
                    <a:pt x="841" y="1702"/>
                  </a:lnTo>
                  <a:lnTo>
                    <a:pt x="868" y="1752"/>
                  </a:lnTo>
                  <a:lnTo>
                    <a:pt x="896" y="1801"/>
                  </a:lnTo>
                  <a:lnTo>
                    <a:pt x="926" y="1851"/>
                  </a:lnTo>
                  <a:lnTo>
                    <a:pt x="953" y="1901"/>
                  </a:lnTo>
                  <a:lnTo>
                    <a:pt x="980" y="1952"/>
                  </a:lnTo>
                  <a:lnTo>
                    <a:pt x="1003" y="2003"/>
                  </a:lnTo>
                  <a:lnTo>
                    <a:pt x="1021" y="2054"/>
                  </a:lnTo>
                  <a:lnTo>
                    <a:pt x="1031" y="2106"/>
                  </a:lnTo>
                  <a:lnTo>
                    <a:pt x="1037" y="2160"/>
                  </a:lnTo>
                  <a:lnTo>
                    <a:pt x="1031" y="2214"/>
                  </a:lnTo>
                  <a:lnTo>
                    <a:pt x="1021" y="2266"/>
                  </a:lnTo>
                  <a:lnTo>
                    <a:pt x="1003" y="2317"/>
                  </a:lnTo>
                  <a:lnTo>
                    <a:pt x="980" y="2368"/>
                  </a:lnTo>
                  <a:lnTo>
                    <a:pt x="953" y="2419"/>
                  </a:lnTo>
                  <a:lnTo>
                    <a:pt x="926" y="2469"/>
                  </a:lnTo>
                  <a:lnTo>
                    <a:pt x="896" y="2519"/>
                  </a:lnTo>
                  <a:lnTo>
                    <a:pt x="868" y="2568"/>
                  </a:lnTo>
                  <a:lnTo>
                    <a:pt x="841" y="2618"/>
                  </a:lnTo>
                  <a:lnTo>
                    <a:pt x="817" y="2668"/>
                  </a:lnTo>
                  <a:lnTo>
                    <a:pt x="797" y="2718"/>
                  </a:lnTo>
                  <a:lnTo>
                    <a:pt x="784" y="2769"/>
                  </a:lnTo>
                  <a:lnTo>
                    <a:pt x="778" y="2818"/>
                  </a:lnTo>
                  <a:lnTo>
                    <a:pt x="775" y="2868"/>
                  </a:lnTo>
                  <a:lnTo>
                    <a:pt x="778" y="2919"/>
                  </a:lnTo>
                  <a:lnTo>
                    <a:pt x="782" y="2972"/>
                  </a:lnTo>
                  <a:lnTo>
                    <a:pt x="788" y="3025"/>
                  </a:lnTo>
                  <a:lnTo>
                    <a:pt x="796" y="3078"/>
                  </a:lnTo>
                  <a:lnTo>
                    <a:pt x="803" y="3131"/>
                  </a:lnTo>
                  <a:lnTo>
                    <a:pt x="808" y="3184"/>
                  </a:lnTo>
                  <a:lnTo>
                    <a:pt x="812" y="3235"/>
                  </a:lnTo>
                  <a:lnTo>
                    <a:pt x="813" y="3286"/>
                  </a:lnTo>
                  <a:lnTo>
                    <a:pt x="809" y="3334"/>
                  </a:lnTo>
                  <a:lnTo>
                    <a:pt x="800" y="3383"/>
                  </a:lnTo>
                  <a:lnTo>
                    <a:pt x="786" y="3427"/>
                  </a:lnTo>
                  <a:lnTo>
                    <a:pt x="763" y="3472"/>
                  </a:lnTo>
                  <a:lnTo>
                    <a:pt x="736" y="3512"/>
                  </a:lnTo>
                  <a:lnTo>
                    <a:pt x="703" y="3549"/>
                  </a:lnTo>
                  <a:lnTo>
                    <a:pt x="667" y="3586"/>
                  </a:lnTo>
                  <a:lnTo>
                    <a:pt x="628" y="3620"/>
                  </a:lnTo>
                  <a:lnTo>
                    <a:pt x="587" y="3652"/>
                  </a:lnTo>
                  <a:lnTo>
                    <a:pt x="544" y="3685"/>
                  </a:lnTo>
                  <a:lnTo>
                    <a:pt x="502" y="3717"/>
                  </a:lnTo>
                  <a:lnTo>
                    <a:pt x="460" y="3749"/>
                  </a:lnTo>
                  <a:lnTo>
                    <a:pt x="420" y="3783"/>
                  </a:lnTo>
                  <a:lnTo>
                    <a:pt x="382" y="3817"/>
                  </a:lnTo>
                  <a:lnTo>
                    <a:pt x="349" y="3854"/>
                  </a:lnTo>
                  <a:lnTo>
                    <a:pt x="319" y="3893"/>
                  </a:lnTo>
                  <a:lnTo>
                    <a:pt x="292" y="3939"/>
                  </a:lnTo>
                  <a:lnTo>
                    <a:pt x="269" y="3989"/>
                  </a:lnTo>
                  <a:lnTo>
                    <a:pt x="251" y="4042"/>
                  </a:lnTo>
                  <a:lnTo>
                    <a:pt x="234" y="4097"/>
                  </a:lnTo>
                  <a:lnTo>
                    <a:pt x="220" y="4154"/>
                  </a:lnTo>
                  <a:lnTo>
                    <a:pt x="204" y="4210"/>
                  </a:lnTo>
                  <a:lnTo>
                    <a:pt x="188" y="4265"/>
                  </a:lnTo>
                  <a:lnTo>
                    <a:pt x="171" y="4320"/>
                  </a:lnTo>
                  <a:lnTo>
                    <a:pt x="0" y="4320"/>
                  </a:lnTo>
                  <a:lnTo>
                    <a:pt x="17" y="4278"/>
                  </a:lnTo>
                  <a:lnTo>
                    <a:pt x="33" y="4232"/>
                  </a:lnTo>
                  <a:lnTo>
                    <a:pt x="46" y="4183"/>
                  </a:lnTo>
                  <a:lnTo>
                    <a:pt x="60" y="4131"/>
                  </a:lnTo>
                  <a:lnTo>
                    <a:pt x="75" y="4075"/>
                  </a:lnTo>
                  <a:lnTo>
                    <a:pt x="90" y="4019"/>
                  </a:lnTo>
                  <a:lnTo>
                    <a:pt x="109" y="3964"/>
                  </a:lnTo>
                  <a:lnTo>
                    <a:pt x="129" y="3909"/>
                  </a:lnTo>
                  <a:lnTo>
                    <a:pt x="156" y="3855"/>
                  </a:lnTo>
                  <a:lnTo>
                    <a:pt x="186" y="3804"/>
                  </a:lnTo>
                  <a:lnTo>
                    <a:pt x="222" y="3756"/>
                  </a:lnTo>
                  <a:lnTo>
                    <a:pt x="261" y="3713"/>
                  </a:lnTo>
                  <a:lnTo>
                    <a:pt x="303" y="3672"/>
                  </a:lnTo>
                  <a:lnTo>
                    <a:pt x="348" y="3634"/>
                  </a:lnTo>
                  <a:lnTo>
                    <a:pt x="392" y="3599"/>
                  </a:lnTo>
                  <a:lnTo>
                    <a:pt x="438" y="3565"/>
                  </a:lnTo>
                  <a:lnTo>
                    <a:pt x="482" y="3531"/>
                  </a:lnTo>
                  <a:lnTo>
                    <a:pt x="523" y="3499"/>
                  </a:lnTo>
                  <a:lnTo>
                    <a:pt x="561" y="3466"/>
                  </a:lnTo>
                  <a:lnTo>
                    <a:pt x="594" y="3434"/>
                  </a:lnTo>
                  <a:lnTo>
                    <a:pt x="620" y="3400"/>
                  </a:lnTo>
                  <a:lnTo>
                    <a:pt x="638" y="3367"/>
                  </a:lnTo>
                  <a:lnTo>
                    <a:pt x="647" y="3336"/>
                  </a:lnTo>
                  <a:lnTo>
                    <a:pt x="652" y="3302"/>
                  </a:lnTo>
                  <a:lnTo>
                    <a:pt x="654" y="3265"/>
                  </a:lnTo>
                  <a:lnTo>
                    <a:pt x="651" y="3224"/>
                  </a:lnTo>
                  <a:lnTo>
                    <a:pt x="647" y="3181"/>
                  </a:lnTo>
                  <a:lnTo>
                    <a:pt x="642" y="3137"/>
                  </a:lnTo>
                  <a:lnTo>
                    <a:pt x="637" y="3091"/>
                  </a:lnTo>
                  <a:lnTo>
                    <a:pt x="626" y="3021"/>
                  </a:lnTo>
                  <a:lnTo>
                    <a:pt x="620" y="2952"/>
                  </a:lnTo>
                  <a:lnTo>
                    <a:pt x="616" y="2881"/>
                  </a:lnTo>
                  <a:lnTo>
                    <a:pt x="618" y="2809"/>
                  </a:lnTo>
                  <a:lnTo>
                    <a:pt x="628" y="2737"/>
                  </a:lnTo>
                  <a:lnTo>
                    <a:pt x="642" y="2681"/>
                  </a:lnTo>
                  <a:lnTo>
                    <a:pt x="661" y="2626"/>
                  </a:lnTo>
                  <a:lnTo>
                    <a:pt x="685" y="2574"/>
                  </a:lnTo>
                  <a:lnTo>
                    <a:pt x="711" y="2521"/>
                  </a:lnTo>
                  <a:lnTo>
                    <a:pt x="739" y="2472"/>
                  </a:lnTo>
                  <a:lnTo>
                    <a:pt x="767" y="2423"/>
                  </a:lnTo>
                  <a:lnTo>
                    <a:pt x="791" y="2381"/>
                  </a:lnTo>
                  <a:lnTo>
                    <a:pt x="813" y="2342"/>
                  </a:lnTo>
                  <a:lnTo>
                    <a:pt x="834" y="2303"/>
                  </a:lnTo>
                  <a:lnTo>
                    <a:pt x="851" y="2265"/>
                  </a:lnTo>
                  <a:lnTo>
                    <a:pt x="864" y="2228"/>
                  </a:lnTo>
                  <a:lnTo>
                    <a:pt x="873" y="2194"/>
                  </a:lnTo>
                  <a:lnTo>
                    <a:pt x="876" y="2160"/>
                  </a:lnTo>
                  <a:lnTo>
                    <a:pt x="873" y="2126"/>
                  </a:lnTo>
                  <a:lnTo>
                    <a:pt x="864" y="2092"/>
                  </a:lnTo>
                  <a:lnTo>
                    <a:pt x="851" y="2055"/>
                  </a:lnTo>
                  <a:lnTo>
                    <a:pt x="834" y="2017"/>
                  </a:lnTo>
                  <a:lnTo>
                    <a:pt x="813" y="1978"/>
                  </a:lnTo>
                  <a:lnTo>
                    <a:pt x="791" y="1939"/>
                  </a:lnTo>
                  <a:lnTo>
                    <a:pt x="767" y="1897"/>
                  </a:lnTo>
                  <a:lnTo>
                    <a:pt x="739" y="1848"/>
                  </a:lnTo>
                  <a:lnTo>
                    <a:pt x="711" y="1799"/>
                  </a:lnTo>
                  <a:lnTo>
                    <a:pt x="685" y="1746"/>
                  </a:lnTo>
                  <a:lnTo>
                    <a:pt x="661" y="1694"/>
                  </a:lnTo>
                  <a:lnTo>
                    <a:pt x="642" y="1639"/>
                  </a:lnTo>
                  <a:lnTo>
                    <a:pt x="628" y="1583"/>
                  </a:lnTo>
                  <a:lnTo>
                    <a:pt x="618" y="1511"/>
                  </a:lnTo>
                  <a:lnTo>
                    <a:pt x="616" y="1439"/>
                  </a:lnTo>
                  <a:lnTo>
                    <a:pt x="620" y="1368"/>
                  </a:lnTo>
                  <a:lnTo>
                    <a:pt x="626" y="1299"/>
                  </a:lnTo>
                  <a:lnTo>
                    <a:pt x="637" y="1229"/>
                  </a:lnTo>
                  <a:lnTo>
                    <a:pt x="642" y="1183"/>
                  </a:lnTo>
                  <a:lnTo>
                    <a:pt x="647" y="1139"/>
                  </a:lnTo>
                  <a:lnTo>
                    <a:pt x="651" y="1096"/>
                  </a:lnTo>
                  <a:lnTo>
                    <a:pt x="654" y="1055"/>
                  </a:lnTo>
                  <a:lnTo>
                    <a:pt x="652" y="1018"/>
                  </a:lnTo>
                  <a:lnTo>
                    <a:pt x="647" y="984"/>
                  </a:lnTo>
                  <a:lnTo>
                    <a:pt x="638" y="953"/>
                  </a:lnTo>
                  <a:lnTo>
                    <a:pt x="620" y="920"/>
                  </a:lnTo>
                  <a:lnTo>
                    <a:pt x="594" y="886"/>
                  </a:lnTo>
                  <a:lnTo>
                    <a:pt x="561" y="854"/>
                  </a:lnTo>
                  <a:lnTo>
                    <a:pt x="523" y="822"/>
                  </a:lnTo>
                  <a:lnTo>
                    <a:pt x="482" y="789"/>
                  </a:lnTo>
                  <a:lnTo>
                    <a:pt x="438" y="755"/>
                  </a:lnTo>
                  <a:lnTo>
                    <a:pt x="392" y="721"/>
                  </a:lnTo>
                  <a:lnTo>
                    <a:pt x="348" y="686"/>
                  </a:lnTo>
                  <a:lnTo>
                    <a:pt x="303" y="648"/>
                  </a:lnTo>
                  <a:lnTo>
                    <a:pt x="261" y="607"/>
                  </a:lnTo>
                  <a:lnTo>
                    <a:pt x="222" y="564"/>
                  </a:lnTo>
                  <a:lnTo>
                    <a:pt x="186" y="516"/>
                  </a:lnTo>
                  <a:lnTo>
                    <a:pt x="156" y="465"/>
                  </a:lnTo>
                  <a:lnTo>
                    <a:pt x="129" y="411"/>
                  </a:lnTo>
                  <a:lnTo>
                    <a:pt x="109" y="356"/>
                  </a:lnTo>
                  <a:lnTo>
                    <a:pt x="90" y="301"/>
                  </a:lnTo>
                  <a:lnTo>
                    <a:pt x="75" y="245"/>
                  </a:lnTo>
                  <a:lnTo>
                    <a:pt x="60" y="189"/>
                  </a:lnTo>
                  <a:lnTo>
                    <a:pt x="46" y="137"/>
                  </a:lnTo>
                  <a:lnTo>
                    <a:pt x="33" y="88"/>
                  </a:lnTo>
                  <a:lnTo>
                    <a:pt x="17" y="4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</p:sp>
      </p:grpSp>
    </p:spTree>
    <p:extLst>
      <p:ext uri="{BB962C8B-B14F-4D97-AF65-F5344CB8AC3E}">
        <p14:creationId xmlns:p14="http://schemas.microsoft.com/office/powerpoint/2010/main" val="263274160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257300" y="2286000"/>
            <a:ext cx="4800600" cy="36195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647796" y="2286000"/>
            <a:ext cx="4800600" cy="36195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75B310-5023-4FF0-84B1-D829AC3B2B29}" type="datetimeFigureOut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3/15/2023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CB10C4-4CE0-4D71-9C85-A411492A1E37}" type="slidenum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‹#›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77258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2728" y="381000"/>
            <a:ext cx="10172700" cy="149351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51678" y="2199633"/>
            <a:ext cx="4800600" cy="632529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buNone/>
              <a:defRPr sz="1900" b="1" cap="all" spc="200" baseline="0">
                <a:solidFill>
                  <a:schemeClr val="tx2"/>
                </a:solidFill>
              </a:defRPr>
            </a:lvl1pPr>
            <a:lvl2pPr marL="457200" indent="0">
              <a:buNone/>
              <a:defRPr sz="19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257300" y="2909102"/>
            <a:ext cx="4800600" cy="299639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633864" y="2199633"/>
            <a:ext cx="4800600" cy="632529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buNone/>
              <a:defRPr sz="1900" b="1" cap="all" spc="200" baseline="0">
                <a:solidFill>
                  <a:schemeClr val="tx2"/>
                </a:solidFill>
              </a:defRPr>
            </a:lvl1pPr>
            <a:lvl2pPr marL="457200" indent="0">
              <a:buNone/>
              <a:defRPr sz="19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633864" y="2909102"/>
            <a:ext cx="4800600" cy="299639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75B310-5023-4FF0-84B1-D829AC3B2B29}" type="datetimeFigureOut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3/15/2023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CB10C4-4CE0-4D71-9C85-A411492A1E37}" type="slidenum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‹#›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848449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75B310-5023-4FF0-84B1-D829AC3B2B29}" type="datetimeFigureOut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3/15/2023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CB10C4-4CE0-4D71-9C85-A411492A1E37}" type="slidenum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‹#›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153552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75B310-5023-4FF0-84B1-D829AC3B2B29}" type="datetimeFigureOut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3/15/2023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CB10C4-4CE0-4D71-9C85-A411492A1E37}" type="slidenum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‹#›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02402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 11" title="right scallop background shape"/>
          <p:cNvSpPr/>
          <p:nvPr/>
        </p:nvSpPr>
        <p:spPr bwMode="auto">
          <a:xfrm>
            <a:off x="7389812" y="0"/>
            <a:ext cx="4802188" cy="6858000"/>
          </a:xfrm>
          <a:custGeom>
            <a:avLst/>
            <a:gdLst/>
            <a:ahLst/>
            <a:cxnLst/>
            <a:rect l="0" t="0" r="r" b="b"/>
            <a:pathLst>
              <a:path w="3025" h="4320">
                <a:moveTo>
                  <a:pt x="0" y="0"/>
                </a:moveTo>
                <a:lnTo>
                  <a:pt x="3025" y="0"/>
                </a:lnTo>
                <a:lnTo>
                  <a:pt x="3025" y="4320"/>
                </a:lnTo>
                <a:lnTo>
                  <a:pt x="0" y="4320"/>
                </a:lnTo>
                <a:lnTo>
                  <a:pt x="3" y="4278"/>
                </a:lnTo>
                <a:lnTo>
                  <a:pt x="8" y="4243"/>
                </a:lnTo>
                <a:lnTo>
                  <a:pt x="14" y="4210"/>
                </a:lnTo>
                <a:lnTo>
                  <a:pt x="24" y="4183"/>
                </a:lnTo>
                <a:lnTo>
                  <a:pt x="34" y="4156"/>
                </a:lnTo>
                <a:lnTo>
                  <a:pt x="46" y="4133"/>
                </a:lnTo>
                <a:lnTo>
                  <a:pt x="58" y="4109"/>
                </a:lnTo>
                <a:lnTo>
                  <a:pt x="69" y="4087"/>
                </a:lnTo>
                <a:lnTo>
                  <a:pt x="80" y="4062"/>
                </a:lnTo>
                <a:lnTo>
                  <a:pt x="90" y="4036"/>
                </a:lnTo>
                <a:lnTo>
                  <a:pt x="99" y="4007"/>
                </a:lnTo>
                <a:lnTo>
                  <a:pt x="106" y="3976"/>
                </a:lnTo>
                <a:lnTo>
                  <a:pt x="111" y="3938"/>
                </a:lnTo>
                <a:lnTo>
                  <a:pt x="113" y="3895"/>
                </a:lnTo>
                <a:lnTo>
                  <a:pt x="111" y="3851"/>
                </a:lnTo>
                <a:lnTo>
                  <a:pt x="106" y="3815"/>
                </a:lnTo>
                <a:lnTo>
                  <a:pt x="99" y="3782"/>
                </a:lnTo>
                <a:lnTo>
                  <a:pt x="90" y="3752"/>
                </a:lnTo>
                <a:lnTo>
                  <a:pt x="80" y="3726"/>
                </a:lnTo>
                <a:lnTo>
                  <a:pt x="68" y="3702"/>
                </a:lnTo>
                <a:lnTo>
                  <a:pt x="56" y="3679"/>
                </a:lnTo>
                <a:lnTo>
                  <a:pt x="44" y="3655"/>
                </a:lnTo>
                <a:lnTo>
                  <a:pt x="33" y="3630"/>
                </a:lnTo>
                <a:lnTo>
                  <a:pt x="22" y="3604"/>
                </a:lnTo>
                <a:lnTo>
                  <a:pt x="13" y="3575"/>
                </a:lnTo>
                <a:lnTo>
                  <a:pt x="7" y="3542"/>
                </a:lnTo>
                <a:lnTo>
                  <a:pt x="1" y="3504"/>
                </a:lnTo>
                <a:lnTo>
                  <a:pt x="0" y="3461"/>
                </a:lnTo>
                <a:lnTo>
                  <a:pt x="1" y="3418"/>
                </a:lnTo>
                <a:lnTo>
                  <a:pt x="7" y="3380"/>
                </a:lnTo>
                <a:lnTo>
                  <a:pt x="13" y="3347"/>
                </a:lnTo>
                <a:lnTo>
                  <a:pt x="22" y="3319"/>
                </a:lnTo>
                <a:lnTo>
                  <a:pt x="33" y="3292"/>
                </a:lnTo>
                <a:lnTo>
                  <a:pt x="44" y="3267"/>
                </a:lnTo>
                <a:lnTo>
                  <a:pt x="56" y="3244"/>
                </a:lnTo>
                <a:lnTo>
                  <a:pt x="68" y="3222"/>
                </a:lnTo>
                <a:lnTo>
                  <a:pt x="80" y="3197"/>
                </a:lnTo>
                <a:lnTo>
                  <a:pt x="90" y="3171"/>
                </a:lnTo>
                <a:lnTo>
                  <a:pt x="99" y="3142"/>
                </a:lnTo>
                <a:lnTo>
                  <a:pt x="106" y="3109"/>
                </a:lnTo>
                <a:lnTo>
                  <a:pt x="111" y="3071"/>
                </a:lnTo>
                <a:lnTo>
                  <a:pt x="113" y="3028"/>
                </a:lnTo>
                <a:lnTo>
                  <a:pt x="111" y="2985"/>
                </a:lnTo>
                <a:lnTo>
                  <a:pt x="106" y="2947"/>
                </a:lnTo>
                <a:lnTo>
                  <a:pt x="99" y="2914"/>
                </a:lnTo>
                <a:lnTo>
                  <a:pt x="90" y="2885"/>
                </a:lnTo>
                <a:lnTo>
                  <a:pt x="80" y="2858"/>
                </a:lnTo>
                <a:lnTo>
                  <a:pt x="68" y="2834"/>
                </a:lnTo>
                <a:lnTo>
                  <a:pt x="44" y="2787"/>
                </a:lnTo>
                <a:lnTo>
                  <a:pt x="33" y="2763"/>
                </a:lnTo>
                <a:lnTo>
                  <a:pt x="22" y="2736"/>
                </a:lnTo>
                <a:lnTo>
                  <a:pt x="13" y="2707"/>
                </a:lnTo>
                <a:lnTo>
                  <a:pt x="7" y="2674"/>
                </a:lnTo>
                <a:lnTo>
                  <a:pt x="1" y="2637"/>
                </a:lnTo>
                <a:lnTo>
                  <a:pt x="0" y="2593"/>
                </a:lnTo>
                <a:lnTo>
                  <a:pt x="1" y="2550"/>
                </a:lnTo>
                <a:lnTo>
                  <a:pt x="7" y="2512"/>
                </a:lnTo>
                <a:lnTo>
                  <a:pt x="13" y="2479"/>
                </a:lnTo>
                <a:lnTo>
                  <a:pt x="22" y="2451"/>
                </a:lnTo>
                <a:lnTo>
                  <a:pt x="33" y="2424"/>
                </a:lnTo>
                <a:lnTo>
                  <a:pt x="44" y="2401"/>
                </a:lnTo>
                <a:lnTo>
                  <a:pt x="68" y="2354"/>
                </a:lnTo>
                <a:lnTo>
                  <a:pt x="80" y="2329"/>
                </a:lnTo>
                <a:lnTo>
                  <a:pt x="90" y="2303"/>
                </a:lnTo>
                <a:lnTo>
                  <a:pt x="99" y="2274"/>
                </a:lnTo>
                <a:lnTo>
                  <a:pt x="106" y="2241"/>
                </a:lnTo>
                <a:lnTo>
                  <a:pt x="111" y="2203"/>
                </a:lnTo>
                <a:lnTo>
                  <a:pt x="113" y="2159"/>
                </a:lnTo>
                <a:lnTo>
                  <a:pt x="111" y="2117"/>
                </a:lnTo>
                <a:lnTo>
                  <a:pt x="106" y="2079"/>
                </a:lnTo>
                <a:lnTo>
                  <a:pt x="99" y="2046"/>
                </a:lnTo>
                <a:lnTo>
                  <a:pt x="90" y="2017"/>
                </a:lnTo>
                <a:lnTo>
                  <a:pt x="80" y="1991"/>
                </a:lnTo>
                <a:lnTo>
                  <a:pt x="68" y="1966"/>
                </a:lnTo>
                <a:lnTo>
                  <a:pt x="56" y="1943"/>
                </a:lnTo>
                <a:lnTo>
                  <a:pt x="44" y="1919"/>
                </a:lnTo>
                <a:lnTo>
                  <a:pt x="33" y="1896"/>
                </a:lnTo>
                <a:lnTo>
                  <a:pt x="22" y="1869"/>
                </a:lnTo>
                <a:lnTo>
                  <a:pt x="13" y="1841"/>
                </a:lnTo>
                <a:lnTo>
                  <a:pt x="7" y="1807"/>
                </a:lnTo>
                <a:lnTo>
                  <a:pt x="1" y="1770"/>
                </a:lnTo>
                <a:lnTo>
                  <a:pt x="0" y="1727"/>
                </a:lnTo>
                <a:lnTo>
                  <a:pt x="1" y="1683"/>
                </a:lnTo>
                <a:lnTo>
                  <a:pt x="7" y="1646"/>
                </a:lnTo>
                <a:lnTo>
                  <a:pt x="13" y="1613"/>
                </a:lnTo>
                <a:lnTo>
                  <a:pt x="22" y="1583"/>
                </a:lnTo>
                <a:lnTo>
                  <a:pt x="33" y="1557"/>
                </a:lnTo>
                <a:lnTo>
                  <a:pt x="44" y="1533"/>
                </a:lnTo>
                <a:lnTo>
                  <a:pt x="56" y="1509"/>
                </a:lnTo>
                <a:lnTo>
                  <a:pt x="68" y="1486"/>
                </a:lnTo>
                <a:lnTo>
                  <a:pt x="80" y="1461"/>
                </a:lnTo>
                <a:lnTo>
                  <a:pt x="90" y="1435"/>
                </a:lnTo>
                <a:lnTo>
                  <a:pt x="99" y="1406"/>
                </a:lnTo>
                <a:lnTo>
                  <a:pt x="106" y="1373"/>
                </a:lnTo>
                <a:lnTo>
                  <a:pt x="111" y="1335"/>
                </a:lnTo>
                <a:lnTo>
                  <a:pt x="113" y="1292"/>
                </a:lnTo>
                <a:lnTo>
                  <a:pt x="111" y="1249"/>
                </a:lnTo>
                <a:lnTo>
                  <a:pt x="106" y="1211"/>
                </a:lnTo>
                <a:lnTo>
                  <a:pt x="99" y="1178"/>
                </a:lnTo>
                <a:lnTo>
                  <a:pt x="90" y="1149"/>
                </a:lnTo>
                <a:lnTo>
                  <a:pt x="80" y="1123"/>
                </a:lnTo>
                <a:lnTo>
                  <a:pt x="68" y="1098"/>
                </a:lnTo>
                <a:lnTo>
                  <a:pt x="56" y="1076"/>
                </a:lnTo>
                <a:lnTo>
                  <a:pt x="44" y="1053"/>
                </a:lnTo>
                <a:lnTo>
                  <a:pt x="33" y="1028"/>
                </a:lnTo>
                <a:lnTo>
                  <a:pt x="22" y="1001"/>
                </a:lnTo>
                <a:lnTo>
                  <a:pt x="13" y="973"/>
                </a:lnTo>
                <a:lnTo>
                  <a:pt x="7" y="940"/>
                </a:lnTo>
                <a:lnTo>
                  <a:pt x="1" y="902"/>
                </a:lnTo>
                <a:lnTo>
                  <a:pt x="0" y="859"/>
                </a:lnTo>
                <a:lnTo>
                  <a:pt x="1" y="816"/>
                </a:lnTo>
                <a:lnTo>
                  <a:pt x="7" y="778"/>
                </a:lnTo>
                <a:lnTo>
                  <a:pt x="13" y="745"/>
                </a:lnTo>
                <a:lnTo>
                  <a:pt x="22" y="716"/>
                </a:lnTo>
                <a:lnTo>
                  <a:pt x="33" y="690"/>
                </a:lnTo>
                <a:lnTo>
                  <a:pt x="44" y="665"/>
                </a:lnTo>
                <a:lnTo>
                  <a:pt x="56" y="641"/>
                </a:lnTo>
                <a:lnTo>
                  <a:pt x="68" y="618"/>
                </a:lnTo>
                <a:lnTo>
                  <a:pt x="80" y="594"/>
                </a:lnTo>
                <a:lnTo>
                  <a:pt x="90" y="568"/>
                </a:lnTo>
                <a:lnTo>
                  <a:pt x="99" y="538"/>
                </a:lnTo>
                <a:lnTo>
                  <a:pt x="106" y="505"/>
                </a:lnTo>
                <a:lnTo>
                  <a:pt x="111" y="469"/>
                </a:lnTo>
                <a:lnTo>
                  <a:pt x="113" y="424"/>
                </a:lnTo>
                <a:lnTo>
                  <a:pt x="111" y="382"/>
                </a:lnTo>
                <a:lnTo>
                  <a:pt x="106" y="344"/>
                </a:lnTo>
                <a:lnTo>
                  <a:pt x="99" y="313"/>
                </a:lnTo>
                <a:lnTo>
                  <a:pt x="90" y="284"/>
                </a:lnTo>
                <a:lnTo>
                  <a:pt x="80" y="258"/>
                </a:lnTo>
                <a:lnTo>
                  <a:pt x="69" y="233"/>
                </a:lnTo>
                <a:lnTo>
                  <a:pt x="58" y="211"/>
                </a:lnTo>
                <a:lnTo>
                  <a:pt x="46" y="187"/>
                </a:lnTo>
                <a:lnTo>
                  <a:pt x="34" y="164"/>
                </a:lnTo>
                <a:lnTo>
                  <a:pt x="24" y="137"/>
                </a:lnTo>
                <a:lnTo>
                  <a:pt x="14" y="110"/>
                </a:lnTo>
                <a:lnTo>
                  <a:pt x="8" y="77"/>
                </a:lnTo>
                <a:lnTo>
                  <a:pt x="3" y="42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37884" y="457199"/>
            <a:ext cx="3092115" cy="1196671"/>
          </a:xfrm>
        </p:spPr>
        <p:txBody>
          <a:bodyPr anchor="b">
            <a:normAutofit/>
          </a:bodyPr>
          <a:lstStyle>
            <a:lvl1pPr>
              <a:lnSpc>
                <a:spcPct val="100000"/>
              </a:lnSpc>
              <a:defRPr sz="1900" b="1" i="0" cap="all" spc="300" baseline="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65051" y="920377"/>
            <a:ext cx="6158418" cy="4985124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37885" y="1741336"/>
            <a:ext cx="3092115" cy="4164164"/>
          </a:xfrm>
        </p:spPr>
        <p:txBody>
          <a:bodyPr/>
          <a:lstStyle>
            <a:lvl1pPr marL="0" indent="0">
              <a:lnSpc>
                <a:spcPct val="120000"/>
              </a:lnSpc>
              <a:spcBef>
                <a:spcPts val="1200"/>
              </a:spcBef>
              <a:buNone/>
              <a:defRPr sz="1600" baseline="0">
                <a:solidFill>
                  <a:schemeClr val="bg2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765051" y="6375679"/>
            <a:ext cx="1233355" cy="348462"/>
          </a:xfrm>
        </p:spPr>
        <p:txBody>
          <a:bodyPr/>
          <a:lstStyle/>
          <a:p>
            <a:fld id="{3275B310-5023-4FF0-84B1-D829AC3B2B29}" type="datetimeFigureOut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3/15/2023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2103620" y="6375679"/>
            <a:ext cx="3482179" cy="345796"/>
          </a:xfrm>
        </p:spPr>
        <p:txBody>
          <a:bodyPr/>
          <a:lstStyle/>
          <a:p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691014" y="6375679"/>
            <a:ext cx="1232456" cy="345796"/>
          </a:xfrm>
        </p:spPr>
        <p:txBody>
          <a:bodyPr/>
          <a:lstStyle/>
          <a:p>
            <a:fld id="{D9CB10C4-4CE0-4D71-9C85-A411492A1E37}" type="slidenum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‹#›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8" name="Rectangle 7" title="left edge border"/>
          <p:cNvSpPr/>
          <p:nvPr/>
        </p:nvSpPr>
        <p:spPr>
          <a:xfrm>
            <a:off x="0" y="0"/>
            <a:ext cx="283464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</p:spTree>
    <p:extLst>
      <p:ext uri="{BB962C8B-B14F-4D97-AF65-F5344CB8AC3E}">
        <p14:creationId xmlns:p14="http://schemas.microsoft.com/office/powerpoint/2010/main" val="23697000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96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283464" y="0"/>
            <a:ext cx="7355585" cy="6857999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Freeform 11" title="right scallop background shape"/>
          <p:cNvSpPr/>
          <p:nvPr/>
        </p:nvSpPr>
        <p:spPr bwMode="auto">
          <a:xfrm>
            <a:off x="7389812" y="0"/>
            <a:ext cx="4802188" cy="6858000"/>
          </a:xfrm>
          <a:custGeom>
            <a:avLst/>
            <a:gdLst/>
            <a:ahLst/>
            <a:cxnLst/>
            <a:rect l="0" t="0" r="r" b="b"/>
            <a:pathLst>
              <a:path w="3025" h="4320">
                <a:moveTo>
                  <a:pt x="0" y="0"/>
                </a:moveTo>
                <a:lnTo>
                  <a:pt x="3025" y="0"/>
                </a:lnTo>
                <a:lnTo>
                  <a:pt x="3025" y="4320"/>
                </a:lnTo>
                <a:lnTo>
                  <a:pt x="0" y="4320"/>
                </a:lnTo>
                <a:lnTo>
                  <a:pt x="3" y="4278"/>
                </a:lnTo>
                <a:lnTo>
                  <a:pt x="8" y="4243"/>
                </a:lnTo>
                <a:lnTo>
                  <a:pt x="14" y="4210"/>
                </a:lnTo>
                <a:lnTo>
                  <a:pt x="24" y="4183"/>
                </a:lnTo>
                <a:lnTo>
                  <a:pt x="34" y="4156"/>
                </a:lnTo>
                <a:lnTo>
                  <a:pt x="46" y="4133"/>
                </a:lnTo>
                <a:lnTo>
                  <a:pt x="58" y="4109"/>
                </a:lnTo>
                <a:lnTo>
                  <a:pt x="69" y="4087"/>
                </a:lnTo>
                <a:lnTo>
                  <a:pt x="80" y="4062"/>
                </a:lnTo>
                <a:lnTo>
                  <a:pt x="90" y="4036"/>
                </a:lnTo>
                <a:lnTo>
                  <a:pt x="99" y="4007"/>
                </a:lnTo>
                <a:lnTo>
                  <a:pt x="106" y="3976"/>
                </a:lnTo>
                <a:lnTo>
                  <a:pt x="111" y="3938"/>
                </a:lnTo>
                <a:lnTo>
                  <a:pt x="113" y="3895"/>
                </a:lnTo>
                <a:lnTo>
                  <a:pt x="111" y="3851"/>
                </a:lnTo>
                <a:lnTo>
                  <a:pt x="106" y="3815"/>
                </a:lnTo>
                <a:lnTo>
                  <a:pt x="99" y="3782"/>
                </a:lnTo>
                <a:lnTo>
                  <a:pt x="90" y="3752"/>
                </a:lnTo>
                <a:lnTo>
                  <a:pt x="80" y="3726"/>
                </a:lnTo>
                <a:lnTo>
                  <a:pt x="68" y="3702"/>
                </a:lnTo>
                <a:lnTo>
                  <a:pt x="56" y="3679"/>
                </a:lnTo>
                <a:lnTo>
                  <a:pt x="44" y="3655"/>
                </a:lnTo>
                <a:lnTo>
                  <a:pt x="33" y="3630"/>
                </a:lnTo>
                <a:lnTo>
                  <a:pt x="22" y="3604"/>
                </a:lnTo>
                <a:lnTo>
                  <a:pt x="13" y="3575"/>
                </a:lnTo>
                <a:lnTo>
                  <a:pt x="7" y="3542"/>
                </a:lnTo>
                <a:lnTo>
                  <a:pt x="1" y="3504"/>
                </a:lnTo>
                <a:lnTo>
                  <a:pt x="0" y="3461"/>
                </a:lnTo>
                <a:lnTo>
                  <a:pt x="1" y="3418"/>
                </a:lnTo>
                <a:lnTo>
                  <a:pt x="7" y="3380"/>
                </a:lnTo>
                <a:lnTo>
                  <a:pt x="13" y="3347"/>
                </a:lnTo>
                <a:lnTo>
                  <a:pt x="22" y="3319"/>
                </a:lnTo>
                <a:lnTo>
                  <a:pt x="33" y="3292"/>
                </a:lnTo>
                <a:lnTo>
                  <a:pt x="44" y="3267"/>
                </a:lnTo>
                <a:lnTo>
                  <a:pt x="56" y="3244"/>
                </a:lnTo>
                <a:lnTo>
                  <a:pt x="68" y="3222"/>
                </a:lnTo>
                <a:lnTo>
                  <a:pt x="80" y="3197"/>
                </a:lnTo>
                <a:lnTo>
                  <a:pt x="90" y="3171"/>
                </a:lnTo>
                <a:lnTo>
                  <a:pt x="99" y="3142"/>
                </a:lnTo>
                <a:lnTo>
                  <a:pt x="106" y="3109"/>
                </a:lnTo>
                <a:lnTo>
                  <a:pt x="111" y="3071"/>
                </a:lnTo>
                <a:lnTo>
                  <a:pt x="113" y="3028"/>
                </a:lnTo>
                <a:lnTo>
                  <a:pt x="111" y="2985"/>
                </a:lnTo>
                <a:lnTo>
                  <a:pt x="106" y="2947"/>
                </a:lnTo>
                <a:lnTo>
                  <a:pt x="99" y="2914"/>
                </a:lnTo>
                <a:lnTo>
                  <a:pt x="90" y="2885"/>
                </a:lnTo>
                <a:lnTo>
                  <a:pt x="80" y="2858"/>
                </a:lnTo>
                <a:lnTo>
                  <a:pt x="68" y="2834"/>
                </a:lnTo>
                <a:lnTo>
                  <a:pt x="44" y="2787"/>
                </a:lnTo>
                <a:lnTo>
                  <a:pt x="33" y="2763"/>
                </a:lnTo>
                <a:lnTo>
                  <a:pt x="22" y="2736"/>
                </a:lnTo>
                <a:lnTo>
                  <a:pt x="13" y="2707"/>
                </a:lnTo>
                <a:lnTo>
                  <a:pt x="7" y="2674"/>
                </a:lnTo>
                <a:lnTo>
                  <a:pt x="1" y="2637"/>
                </a:lnTo>
                <a:lnTo>
                  <a:pt x="0" y="2593"/>
                </a:lnTo>
                <a:lnTo>
                  <a:pt x="1" y="2550"/>
                </a:lnTo>
                <a:lnTo>
                  <a:pt x="7" y="2512"/>
                </a:lnTo>
                <a:lnTo>
                  <a:pt x="13" y="2479"/>
                </a:lnTo>
                <a:lnTo>
                  <a:pt x="22" y="2451"/>
                </a:lnTo>
                <a:lnTo>
                  <a:pt x="33" y="2424"/>
                </a:lnTo>
                <a:lnTo>
                  <a:pt x="44" y="2401"/>
                </a:lnTo>
                <a:lnTo>
                  <a:pt x="68" y="2354"/>
                </a:lnTo>
                <a:lnTo>
                  <a:pt x="80" y="2329"/>
                </a:lnTo>
                <a:lnTo>
                  <a:pt x="90" y="2303"/>
                </a:lnTo>
                <a:lnTo>
                  <a:pt x="99" y="2274"/>
                </a:lnTo>
                <a:lnTo>
                  <a:pt x="106" y="2241"/>
                </a:lnTo>
                <a:lnTo>
                  <a:pt x="111" y="2203"/>
                </a:lnTo>
                <a:lnTo>
                  <a:pt x="113" y="2159"/>
                </a:lnTo>
                <a:lnTo>
                  <a:pt x="111" y="2117"/>
                </a:lnTo>
                <a:lnTo>
                  <a:pt x="106" y="2079"/>
                </a:lnTo>
                <a:lnTo>
                  <a:pt x="99" y="2046"/>
                </a:lnTo>
                <a:lnTo>
                  <a:pt x="90" y="2017"/>
                </a:lnTo>
                <a:lnTo>
                  <a:pt x="80" y="1991"/>
                </a:lnTo>
                <a:lnTo>
                  <a:pt x="68" y="1966"/>
                </a:lnTo>
                <a:lnTo>
                  <a:pt x="56" y="1943"/>
                </a:lnTo>
                <a:lnTo>
                  <a:pt x="44" y="1919"/>
                </a:lnTo>
                <a:lnTo>
                  <a:pt x="33" y="1896"/>
                </a:lnTo>
                <a:lnTo>
                  <a:pt x="22" y="1869"/>
                </a:lnTo>
                <a:lnTo>
                  <a:pt x="13" y="1841"/>
                </a:lnTo>
                <a:lnTo>
                  <a:pt x="7" y="1807"/>
                </a:lnTo>
                <a:lnTo>
                  <a:pt x="1" y="1770"/>
                </a:lnTo>
                <a:lnTo>
                  <a:pt x="0" y="1727"/>
                </a:lnTo>
                <a:lnTo>
                  <a:pt x="1" y="1683"/>
                </a:lnTo>
                <a:lnTo>
                  <a:pt x="7" y="1646"/>
                </a:lnTo>
                <a:lnTo>
                  <a:pt x="13" y="1613"/>
                </a:lnTo>
                <a:lnTo>
                  <a:pt x="22" y="1583"/>
                </a:lnTo>
                <a:lnTo>
                  <a:pt x="33" y="1557"/>
                </a:lnTo>
                <a:lnTo>
                  <a:pt x="44" y="1533"/>
                </a:lnTo>
                <a:lnTo>
                  <a:pt x="56" y="1509"/>
                </a:lnTo>
                <a:lnTo>
                  <a:pt x="68" y="1486"/>
                </a:lnTo>
                <a:lnTo>
                  <a:pt x="80" y="1461"/>
                </a:lnTo>
                <a:lnTo>
                  <a:pt x="90" y="1435"/>
                </a:lnTo>
                <a:lnTo>
                  <a:pt x="99" y="1406"/>
                </a:lnTo>
                <a:lnTo>
                  <a:pt x="106" y="1373"/>
                </a:lnTo>
                <a:lnTo>
                  <a:pt x="111" y="1335"/>
                </a:lnTo>
                <a:lnTo>
                  <a:pt x="113" y="1292"/>
                </a:lnTo>
                <a:lnTo>
                  <a:pt x="111" y="1249"/>
                </a:lnTo>
                <a:lnTo>
                  <a:pt x="106" y="1211"/>
                </a:lnTo>
                <a:lnTo>
                  <a:pt x="99" y="1178"/>
                </a:lnTo>
                <a:lnTo>
                  <a:pt x="90" y="1149"/>
                </a:lnTo>
                <a:lnTo>
                  <a:pt x="80" y="1123"/>
                </a:lnTo>
                <a:lnTo>
                  <a:pt x="68" y="1098"/>
                </a:lnTo>
                <a:lnTo>
                  <a:pt x="56" y="1076"/>
                </a:lnTo>
                <a:lnTo>
                  <a:pt x="44" y="1053"/>
                </a:lnTo>
                <a:lnTo>
                  <a:pt x="33" y="1028"/>
                </a:lnTo>
                <a:lnTo>
                  <a:pt x="22" y="1001"/>
                </a:lnTo>
                <a:lnTo>
                  <a:pt x="13" y="973"/>
                </a:lnTo>
                <a:lnTo>
                  <a:pt x="7" y="940"/>
                </a:lnTo>
                <a:lnTo>
                  <a:pt x="1" y="902"/>
                </a:lnTo>
                <a:lnTo>
                  <a:pt x="0" y="859"/>
                </a:lnTo>
                <a:lnTo>
                  <a:pt x="1" y="816"/>
                </a:lnTo>
                <a:lnTo>
                  <a:pt x="7" y="778"/>
                </a:lnTo>
                <a:lnTo>
                  <a:pt x="13" y="745"/>
                </a:lnTo>
                <a:lnTo>
                  <a:pt x="22" y="716"/>
                </a:lnTo>
                <a:lnTo>
                  <a:pt x="33" y="690"/>
                </a:lnTo>
                <a:lnTo>
                  <a:pt x="44" y="665"/>
                </a:lnTo>
                <a:lnTo>
                  <a:pt x="56" y="641"/>
                </a:lnTo>
                <a:lnTo>
                  <a:pt x="68" y="618"/>
                </a:lnTo>
                <a:lnTo>
                  <a:pt x="80" y="594"/>
                </a:lnTo>
                <a:lnTo>
                  <a:pt x="90" y="568"/>
                </a:lnTo>
                <a:lnTo>
                  <a:pt x="99" y="538"/>
                </a:lnTo>
                <a:lnTo>
                  <a:pt x="106" y="505"/>
                </a:lnTo>
                <a:lnTo>
                  <a:pt x="111" y="469"/>
                </a:lnTo>
                <a:lnTo>
                  <a:pt x="113" y="424"/>
                </a:lnTo>
                <a:lnTo>
                  <a:pt x="111" y="382"/>
                </a:lnTo>
                <a:lnTo>
                  <a:pt x="106" y="344"/>
                </a:lnTo>
                <a:lnTo>
                  <a:pt x="99" y="313"/>
                </a:lnTo>
                <a:lnTo>
                  <a:pt x="90" y="284"/>
                </a:lnTo>
                <a:lnTo>
                  <a:pt x="80" y="258"/>
                </a:lnTo>
                <a:lnTo>
                  <a:pt x="69" y="233"/>
                </a:lnTo>
                <a:lnTo>
                  <a:pt x="58" y="211"/>
                </a:lnTo>
                <a:lnTo>
                  <a:pt x="46" y="187"/>
                </a:lnTo>
                <a:lnTo>
                  <a:pt x="34" y="164"/>
                </a:lnTo>
                <a:lnTo>
                  <a:pt x="24" y="137"/>
                </a:lnTo>
                <a:lnTo>
                  <a:pt x="14" y="110"/>
                </a:lnTo>
                <a:lnTo>
                  <a:pt x="8" y="77"/>
                </a:lnTo>
                <a:lnTo>
                  <a:pt x="3" y="42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</p:sp>
      <p:sp>
        <p:nvSpPr>
          <p:cNvPr id="12" name="Rectangle 11" title="left edge border"/>
          <p:cNvSpPr/>
          <p:nvPr/>
        </p:nvSpPr>
        <p:spPr>
          <a:xfrm>
            <a:off x="0" y="0"/>
            <a:ext cx="283464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37883" y="457200"/>
            <a:ext cx="3092117" cy="1196670"/>
          </a:xfrm>
        </p:spPr>
        <p:txBody>
          <a:bodyPr anchor="b">
            <a:normAutofit/>
          </a:bodyPr>
          <a:lstStyle>
            <a:lvl1pPr>
              <a:lnSpc>
                <a:spcPct val="100000"/>
              </a:lnSpc>
              <a:defRPr sz="1900" b="1" i="0" spc="300" baseline="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37883" y="1741336"/>
            <a:ext cx="3092117" cy="4164164"/>
          </a:xfrm>
        </p:spPr>
        <p:txBody>
          <a:bodyPr/>
          <a:lstStyle>
            <a:lvl1pPr marL="0" indent="0">
              <a:lnSpc>
                <a:spcPct val="120000"/>
              </a:lnSpc>
              <a:spcBef>
                <a:spcPts val="1200"/>
              </a:spcBef>
              <a:buNone/>
              <a:defRPr sz="1600" baseline="0">
                <a:solidFill>
                  <a:schemeClr val="bg2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765950" y="6375679"/>
            <a:ext cx="1232456" cy="348462"/>
          </a:xfrm>
        </p:spPr>
        <p:txBody>
          <a:bodyPr/>
          <a:lstStyle/>
          <a:p>
            <a:fld id="{3275B310-5023-4FF0-84B1-D829AC3B2B29}" type="datetimeFigureOut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3/15/2023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2103621" y="6375679"/>
            <a:ext cx="3482178" cy="345796"/>
          </a:xfrm>
        </p:spPr>
        <p:txBody>
          <a:bodyPr/>
          <a:lstStyle/>
          <a:p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687568" y="6375679"/>
            <a:ext cx="1234440" cy="345796"/>
          </a:xfrm>
        </p:spPr>
        <p:txBody>
          <a:bodyPr/>
          <a:lstStyle/>
          <a:p>
            <a:fld id="{D9CB10C4-4CE0-4D71-9C85-A411492A1E37}" type="slidenum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‹#›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711708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vmlDrawing" Target="../drawings/vmlDrawing2.v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oleObject" Target="../embeddings/oleObject2.bin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265732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91" name="think-cell Slide" r:id="rId15" imgW="473" imgH="473" progId="TCLayout.ActiveDocument.1">
                  <p:embed/>
                </p:oleObj>
              </mc:Choice>
              <mc:Fallback>
                <p:oleObj name="think-cell Slide" r:id="rId15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251678" y="382385"/>
            <a:ext cx="10178322" cy="149213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51678" y="2286001"/>
            <a:ext cx="10178322" cy="359359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251678" y="6375679"/>
            <a:ext cx="2329722" cy="34846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3275B310-5023-4FF0-84B1-D829AC3B2B29}" type="datetimeFigureOut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3/15/2023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75679"/>
            <a:ext cx="4114800" cy="3457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1" y="6375679"/>
            <a:ext cx="2819399" cy="3457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D9CB10C4-4CE0-4D71-9C85-A411492A1E37}" type="slidenum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‹#›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11" name="Freeform 6" title="Left scallop edge"/>
          <p:cNvSpPr/>
          <p:nvPr/>
        </p:nvSpPr>
        <p:spPr bwMode="auto">
          <a:xfrm>
            <a:off x="0" y="0"/>
            <a:ext cx="885825" cy="6858000"/>
          </a:xfrm>
          <a:custGeom>
            <a:avLst/>
            <a:gdLst/>
            <a:ahLst/>
            <a:cxnLst/>
            <a:rect l="0" t="0" r="r" b="b"/>
            <a:pathLst>
              <a:path w="558" h="4320">
                <a:moveTo>
                  <a:pt x="0" y="0"/>
                </a:moveTo>
                <a:lnTo>
                  <a:pt x="447" y="0"/>
                </a:lnTo>
                <a:lnTo>
                  <a:pt x="448" y="43"/>
                </a:lnTo>
                <a:lnTo>
                  <a:pt x="453" y="81"/>
                </a:lnTo>
                <a:lnTo>
                  <a:pt x="460" y="114"/>
                </a:lnTo>
                <a:lnTo>
                  <a:pt x="469" y="143"/>
                </a:lnTo>
                <a:lnTo>
                  <a:pt x="479" y="169"/>
                </a:lnTo>
                <a:lnTo>
                  <a:pt x="491" y="192"/>
                </a:lnTo>
                <a:lnTo>
                  <a:pt x="503" y="216"/>
                </a:lnTo>
                <a:lnTo>
                  <a:pt x="515" y="240"/>
                </a:lnTo>
                <a:lnTo>
                  <a:pt x="525" y="263"/>
                </a:lnTo>
                <a:lnTo>
                  <a:pt x="535" y="289"/>
                </a:lnTo>
                <a:lnTo>
                  <a:pt x="545" y="318"/>
                </a:lnTo>
                <a:lnTo>
                  <a:pt x="552" y="351"/>
                </a:lnTo>
                <a:lnTo>
                  <a:pt x="556" y="389"/>
                </a:lnTo>
                <a:lnTo>
                  <a:pt x="558" y="432"/>
                </a:lnTo>
                <a:lnTo>
                  <a:pt x="556" y="475"/>
                </a:lnTo>
                <a:lnTo>
                  <a:pt x="552" y="513"/>
                </a:lnTo>
                <a:lnTo>
                  <a:pt x="545" y="546"/>
                </a:lnTo>
                <a:lnTo>
                  <a:pt x="535" y="575"/>
                </a:lnTo>
                <a:lnTo>
                  <a:pt x="525" y="601"/>
                </a:lnTo>
                <a:lnTo>
                  <a:pt x="515" y="624"/>
                </a:lnTo>
                <a:lnTo>
                  <a:pt x="503" y="648"/>
                </a:lnTo>
                <a:lnTo>
                  <a:pt x="491" y="672"/>
                </a:lnTo>
                <a:lnTo>
                  <a:pt x="479" y="695"/>
                </a:lnTo>
                <a:lnTo>
                  <a:pt x="469" y="721"/>
                </a:lnTo>
                <a:lnTo>
                  <a:pt x="460" y="750"/>
                </a:lnTo>
                <a:lnTo>
                  <a:pt x="453" y="783"/>
                </a:lnTo>
                <a:lnTo>
                  <a:pt x="448" y="821"/>
                </a:lnTo>
                <a:lnTo>
                  <a:pt x="447" y="864"/>
                </a:lnTo>
                <a:lnTo>
                  <a:pt x="448" y="907"/>
                </a:lnTo>
                <a:lnTo>
                  <a:pt x="453" y="945"/>
                </a:lnTo>
                <a:lnTo>
                  <a:pt x="460" y="978"/>
                </a:lnTo>
                <a:lnTo>
                  <a:pt x="469" y="1007"/>
                </a:lnTo>
                <a:lnTo>
                  <a:pt x="479" y="1033"/>
                </a:lnTo>
                <a:lnTo>
                  <a:pt x="491" y="1056"/>
                </a:lnTo>
                <a:lnTo>
                  <a:pt x="503" y="1080"/>
                </a:lnTo>
                <a:lnTo>
                  <a:pt x="515" y="1104"/>
                </a:lnTo>
                <a:lnTo>
                  <a:pt x="525" y="1127"/>
                </a:lnTo>
                <a:lnTo>
                  <a:pt x="535" y="1153"/>
                </a:lnTo>
                <a:lnTo>
                  <a:pt x="545" y="1182"/>
                </a:lnTo>
                <a:lnTo>
                  <a:pt x="552" y="1215"/>
                </a:lnTo>
                <a:lnTo>
                  <a:pt x="556" y="1253"/>
                </a:lnTo>
                <a:lnTo>
                  <a:pt x="558" y="1296"/>
                </a:lnTo>
                <a:lnTo>
                  <a:pt x="556" y="1339"/>
                </a:lnTo>
                <a:lnTo>
                  <a:pt x="552" y="1377"/>
                </a:lnTo>
                <a:lnTo>
                  <a:pt x="545" y="1410"/>
                </a:lnTo>
                <a:lnTo>
                  <a:pt x="535" y="1439"/>
                </a:lnTo>
                <a:lnTo>
                  <a:pt x="525" y="1465"/>
                </a:lnTo>
                <a:lnTo>
                  <a:pt x="515" y="1488"/>
                </a:lnTo>
                <a:lnTo>
                  <a:pt x="503" y="1512"/>
                </a:lnTo>
                <a:lnTo>
                  <a:pt x="491" y="1536"/>
                </a:lnTo>
                <a:lnTo>
                  <a:pt x="479" y="1559"/>
                </a:lnTo>
                <a:lnTo>
                  <a:pt x="469" y="1585"/>
                </a:lnTo>
                <a:lnTo>
                  <a:pt x="460" y="1614"/>
                </a:lnTo>
                <a:lnTo>
                  <a:pt x="453" y="1647"/>
                </a:lnTo>
                <a:lnTo>
                  <a:pt x="448" y="1685"/>
                </a:lnTo>
                <a:lnTo>
                  <a:pt x="447" y="1728"/>
                </a:lnTo>
                <a:lnTo>
                  <a:pt x="448" y="1771"/>
                </a:lnTo>
                <a:lnTo>
                  <a:pt x="453" y="1809"/>
                </a:lnTo>
                <a:lnTo>
                  <a:pt x="460" y="1842"/>
                </a:lnTo>
                <a:lnTo>
                  <a:pt x="469" y="1871"/>
                </a:lnTo>
                <a:lnTo>
                  <a:pt x="479" y="1897"/>
                </a:lnTo>
                <a:lnTo>
                  <a:pt x="491" y="1920"/>
                </a:lnTo>
                <a:lnTo>
                  <a:pt x="503" y="1944"/>
                </a:lnTo>
                <a:lnTo>
                  <a:pt x="515" y="1968"/>
                </a:lnTo>
                <a:lnTo>
                  <a:pt x="525" y="1991"/>
                </a:lnTo>
                <a:lnTo>
                  <a:pt x="535" y="2017"/>
                </a:lnTo>
                <a:lnTo>
                  <a:pt x="545" y="2046"/>
                </a:lnTo>
                <a:lnTo>
                  <a:pt x="552" y="2079"/>
                </a:lnTo>
                <a:lnTo>
                  <a:pt x="556" y="2117"/>
                </a:lnTo>
                <a:lnTo>
                  <a:pt x="558" y="2159"/>
                </a:lnTo>
                <a:lnTo>
                  <a:pt x="556" y="2203"/>
                </a:lnTo>
                <a:lnTo>
                  <a:pt x="552" y="2241"/>
                </a:lnTo>
                <a:lnTo>
                  <a:pt x="545" y="2274"/>
                </a:lnTo>
                <a:lnTo>
                  <a:pt x="535" y="2303"/>
                </a:lnTo>
                <a:lnTo>
                  <a:pt x="525" y="2329"/>
                </a:lnTo>
                <a:lnTo>
                  <a:pt x="515" y="2352"/>
                </a:lnTo>
                <a:lnTo>
                  <a:pt x="503" y="2376"/>
                </a:lnTo>
                <a:lnTo>
                  <a:pt x="491" y="2400"/>
                </a:lnTo>
                <a:lnTo>
                  <a:pt x="479" y="2423"/>
                </a:lnTo>
                <a:lnTo>
                  <a:pt x="469" y="2449"/>
                </a:lnTo>
                <a:lnTo>
                  <a:pt x="460" y="2478"/>
                </a:lnTo>
                <a:lnTo>
                  <a:pt x="453" y="2511"/>
                </a:lnTo>
                <a:lnTo>
                  <a:pt x="448" y="2549"/>
                </a:lnTo>
                <a:lnTo>
                  <a:pt x="447" y="2592"/>
                </a:lnTo>
                <a:lnTo>
                  <a:pt x="448" y="2635"/>
                </a:lnTo>
                <a:lnTo>
                  <a:pt x="453" y="2673"/>
                </a:lnTo>
                <a:lnTo>
                  <a:pt x="460" y="2706"/>
                </a:lnTo>
                <a:lnTo>
                  <a:pt x="469" y="2735"/>
                </a:lnTo>
                <a:lnTo>
                  <a:pt x="479" y="2761"/>
                </a:lnTo>
                <a:lnTo>
                  <a:pt x="491" y="2784"/>
                </a:lnTo>
                <a:lnTo>
                  <a:pt x="515" y="2832"/>
                </a:lnTo>
                <a:lnTo>
                  <a:pt x="525" y="2855"/>
                </a:lnTo>
                <a:lnTo>
                  <a:pt x="535" y="2881"/>
                </a:lnTo>
                <a:lnTo>
                  <a:pt x="545" y="2910"/>
                </a:lnTo>
                <a:lnTo>
                  <a:pt x="552" y="2943"/>
                </a:lnTo>
                <a:lnTo>
                  <a:pt x="556" y="2981"/>
                </a:lnTo>
                <a:lnTo>
                  <a:pt x="558" y="3024"/>
                </a:lnTo>
                <a:lnTo>
                  <a:pt x="556" y="3067"/>
                </a:lnTo>
                <a:lnTo>
                  <a:pt x="552" y="3105"/>
                </a:lnTo>
                <a:lnTo>
                  <a:pt x="545" y="3138"/>
                </a:lnTo>
                <a:lnTo>
                  <a:pt x="535" y="3167"/>
                </a:lnTo>
                <a:lnTo>
                  <a:pt x="525" y="3193"/>
                </a:lnTo>
                <a:lnTo>
                  <a:pt x="515" y="3216"/>
                </a:lnTo>
                <a:lnTo>
                  <a:pt x="503" y="3240"/>
                </a:lnTo>
                <a:lnTo>
                  <a:pt x="491" y="3264"/>
                </a:lnTo>
                <a:lnTo>
                  <a:pt x="479" y="3287"/>
                </a:lnTo>
                <a:lnTo>
                  <a:pt x="469" y="3313"/>
                </a:lnTo>
                <a:lnTo>
                  <a:pt x="460" y="3342"/>
                </a:lnTo>
                <a:lnTo>
                  <a:pt x="453" y="3375"/>
                </a:lnTo>
                <a:lnTo>
                  <a:pt x="448" y="3413"/>
                </a:lnTo>
                <a:lnTo>
                  <a:pt x="447" y="3456"/>
                </a:lnTo>
                <a:lnTo>
                  <a:pt x="448" y="3499"/>
                </a:lnTo>
                <a:lnTo>
                  <a:pt x="453" y="3537"/>
                </a:lnTo>
                <a:lnTo>
                  <a:pt x="460" y="3570"/>
                </a:lnTo>
                <a:lnTo>
                  <a:pt x="469" y="3599"/>
                </a:lnTo>
                <a:lnTo>
                  <a:pt x="479" y="3625"/>
                </a:lnTo>
                <a:lnTo>
                  <a:pt x="491" y="3648"/>
                </a:lnTo>
                <a:lnTo>
                  <a:pt x="503" y="3672"/>
                </a:lnTo>
                <a:lnTo>
                  <a:pt x="515" y="3696"/>
                </a:lnTo>
                <a:lnTo>
                  <a:pt x="525" y="3719"/>
                </a:lnTo>
                <a:lnTo>
                  <a:pt x="535" y="3745"/>
                </a:lnTo>
                <a:lnTo>
                  <a:pt x="545" y="3774"/>
                </a:lnTo>
                <a:lnTo>
                  <a:pt x="552" y="3807"/>
                </a:lnTo>
                <a:lnTo>
                  <a:pt x="556" y="3845"/>
                </a:lnTo>
                <a:lnTo>
                  <a:pt x="558" y="3888"/>
                </a:lnTo>
                <a:lnTo>
                  <a:pt x="556" y="3931"/>
                </a:lnTo>
                <a:lnTo>
                  <a:pt x="552" y="3969"/>
                </a:lnTo>
                <a:lnTo>
                  <a:pt x="545" y="4002"/>
                </a:lnTo>
                <a:lnTo>
                  <a:pt x="535" y="4031"/>
                </a:lnTo>
                <a:lnTo>
                  <a:pt x="525" y="4057"/>
                </a:lnTo>
                <a:lnTo>
                  <a:pt x="515" y="4080"/>
                </a:lnTo>
                <a:lnTo>
                  <a:pt x="503" y="4104"/>
                </a:lnTo>
                <a:lnTo>
                  <a:pt x="491" y="4128"/>
                </a:lnTo>
                <a:lnTo>
                  <a:pt x="479" y="4151"/>
                </a:lnTo>
                <a:lnTo>
                  <a:pt x="469" y="4177"/>
                </a:lnTo>
                <a:lnTo>
                  <a:pt x="460" y="4206"/>
                </a:lnTo>
                <a:lnTo>
                  <a:pt x="453" y="4239"/>
                </a:lnTo>
                <a:lnTo>
                  <a:pt x="448" y="4277"/>
                </a:lnTo>
                <a:lnTo>
                  <a:pt x="447" y="4320"/>
                </a:lnTo>
                <a:lnTo>
                  <a:pt x="0" y="432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2" name="Rectangle 11" title="right edge border"/>
          <p:cNvSpPr/>
          <p:nvPr/>
        </p:nvSpPr>
        <p:spPr>
          <a:xfrm>
            <a:off x="11908536" y="0"/>
            <a:ext cx="283464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80162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3" r:id="rId1"/>
    <p:sldLayoutId id="2147483764" r:id="rId2"/>
    <p:sldLayoutId id="2147483765" r:id="rId3"/>
    <p:sldLayoutId id="2147483766" r:id="rId4"/>
    <p:sldLayoutId id="2147483767" r:id="rId5"/>
    <p:sldLayoutId id="2147483768" r:id="rId6"/>
    <p:sldLayoutId id="2147483769" r:id="rId7"/>
    <p:sldLayoutId id="2147483770" r:id="rId8"/>
    <p:sldLayoutId id="2147483771" r:id="rId9"/>
    <p:sldLayoutId id="2147483772" r:id="rId10"/>
    <p:sldLayoutId id="2147483773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5100" kern="1200" cap="all" spc="2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10000"/>
        </a:lnSpc>
        <a:spcBef>
          <a:spcPts val="700"/>
        </a:spcBef>
        <a:buClr>
          <a:schemeClr val="tx2"/>
        </a:buClr>
        <a:buFont typeface="Arial" panose="020B0604020202020204" pitchFamily="34" charset="0"/>
        <a:buChar char="•"/>
        <a:defRPr sz="20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10000"/>
        </a:lnSpc>
        <a:spcBef>
          <a:spcPts val="700"/>
        </a:spcBef>
        <a:buClr>
          <a:schemeClr val="tx2"/>
        </a:buClr>
        <a:buFont typeface="Gill Sans MT" panose="020B0502020104020203" pitchFamily="34" charset="0"/>
        <a:buChar char="–"/>
        <a:defRPr sz="18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10000"/>
        </a:lnSpc>
        <a:spcBef>
          <a:spcPts val="700"/>
        </a:spcBef>
        <a:buClr>
          <a:schemeClr val="tx2"/>
        </a:buClr>
        <a:buFont typeface="Arial" panose="020B0604020202020204" pitchFamily="34" charset="0"/>
        <a:buChar char="•"/>
        <a:defRPr sz="16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ts val="700"/>
        </a:spcBef>
        <a:buClr>
          <a:schemeClr val="tx2"/>
        </a:buClr>
        <a:buFont typeface="Gill Sans MT" panose="020B0502020104020203" pitchFamily="34" charset="0"/>
        <a:buChar char="–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ts val="700"/>
        </a:spcBef>
        <a:buClr>
          <a:schemeClr val="tx2"/>
        </a:buClr>
        <a:buFont typeface="Arial" panose="020B0604020202020204" pitchFamily="34" charset="0"/>
        <a:buChar char="•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110000"/>
        </a:lnSpc>
        <a:spcBef>
          <a:spcPts val="700"/>
        </a:spcBef>
        <a:buClr>
          <a:schemeClr val="tx2"/>
        </a:buClr>
        <a:buFont typeface="Gill Sans MT" panose="020B0502020104020203" pitchFamily="34" charset="0"/>
        <a:buChar char="–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110000"/>
        </a:lnSpc>
        <a:spcBef>
          <a:spcPts val="700"/>
        </a:spcBef>
        <a:buClr>
          <a:schemeClr val="tx2"/>
        </a:buClr>
        <a:buFont typeface="Arial" panose="020B0604020202020204" pitchFamily="34" charset="0"/>
        <a:buChar char="•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110000"/>
        </a:lnSpc>
        <a:spcBef>
          <a:spcPts val="700"/>
        </a:spcBef>
        <a:buClr>
          <a:schemeClr val="tx2"/>
        </a:buClr>
        <a:buFont typeface="Gill Sans MT" panose="020B0502020104020203" pitchFamily="34" charset="0"/>
        <a:buChar char="–"/>
        <a:defRPr sz="1400" kern="1200" baseline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110000"/>
        </a:lnSpc>
        <a:spcBef>
          <a:spcPts val="700"/>
        </a:spcBef>
        <a:buClr>
          <a:schemeClr val="tx2"/>
        </a:buClr>
        <a:buFont typeface="Arial" panose="020B0604020202020204" pitchFamily="34" charset="0"/>
        <a:buChar char="•"/>
        <a:defRPr sz="1400" kern="1200" baseline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792">
          <p15:clr>
            <a:srgbClr val="F26B43"/>
          </p15:clr>
        </p15:guide>
        <p15:guide id="2" pos="7200">
          <p15:clr>
            <a:srgbClr val="F26B43"/>
          </p15:clr>
        </p15:guide>
        <p15:guide id="3" orient="horz" pos="4008">
          <p15:clr>
            <a:srgbClr val="F26B43"/>
          </p15:clr>
        </p15:guide>
        <p15:guide id="4" orient="horz" pos="1440">
          <p15:clr>
            <a:srgbClr val="F26B43"/>
          </p15:clr>
        </p15:guide>
        <p15:guide id="5" orient="horz" pos="3720">
          <p15:clr>
            <a:srgbClr val="F26B43"/>
          </p15:clr>
        </p15:guide>
        <p15:guide id="6" orient="horz" pos="24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4426737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14" name="think-cell Slide" r:id="rId15" imgW="473" imgH="473" progId="TCLayout.ActiveDocument.1">
                  <p:embed/>
                </p:oleObj>
              </mc:Choice>
              <mc:Fallback>
                <p:oleObj name="think-cell Slide" r:id="rId15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251678" y="382385"/>
            <a:ext cx="10178322" cy="149213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51678" y="2286001"/>
            <a:ext cx="10178322" cy="359359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251678" y="6375679"/>
            <a:ext cx="2329722" cy="34846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3275B310-5023-4FF0-84B1-D829AC3B2B29}" type="datetimeFigureOut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3/15/2023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75679"/>
            <a:ext cx="4114800" cy="3457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1" y="6375679"/>
            <a:ext cx="2819399" cy="3457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D9CB10C4-4CE0-4D71-9C85-A411492A1E37}" type="slidenum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‹#›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11" name="Freeform 6" title="Left scallop edge"/>
          <p:cNvSpPr/>
          <p:nvPr/>
        </p:nvSpPr>
        <p:spPr bwMode="auto">
          <a:xfrm>
            <a:off x="0" y="0"/>
            <a:ext cx="885825" cy="6858000"/>
          </a:xfrm>
          <a:custGeom>
            <a:avLst/>
            <a:gdLst/>
            <a:ahLst/>
            <a:cxnLst/>
            <a:rect l="0" t="0" r="r" b="b"/>
            <a:pathLst>
              <a:path w="558" h="4320">
                <a:moveTo>
                  <a:pt x="0" y="0"/>
                </a:moveTo>
                <a:lnTo>
                  <a:pt x="447" y="0"/>
                </a:lnTo>
                <a:lnTo>
                  <a:pt x="448" y="43"/>
                </a:lnTo>
                <a:lnTo>
                  <a:pt x="453" y="81"/>
                </a:lnTo>
                <a:lnTo>
                  <a:pt x="460" y="114"/>
                </a:lnTo>
                <a:lnTo>
                  <a:pt x="469" y="143"/>
                </a:lnTo>
                <a:lnTo>
                  <a:pt x="479" y="169"/>
                </a:lnTo>
                <a:lnTo>
                  <a:pt x="491" y="192"/>
                </a:lnTo>
                <a:lnTo>
                  <a:pt x="503" y="216"/>
                </a:lnTo>
                <a:lnTo>
                  <a:pt x="515" y="240"/>
                </a:lnTo>
                <a:lnTo>
                  <a:pt x="525" y="263"/>
                </a:lnTo>
                <a:lnTo>
                  <a:pt x="535" y="289"/>
                </a:lnTo>
                <a:lnTo>
                  <a:pt x="545" y="318"/>
                </a:lnTo>
                <a:lnTo>
                  <a:pt x="552" y="351"/>
                </a:lnTo>
                <a:lnTo>
                  <a:pt x="556" y="389"/>
                </a:lnTo>
                <a:lnTo>
                  <a:pt x="558" y="432"/>
                </a:lnTo>
                <a:lnTo>
                  <a:pt x="556" y="475"/>
                </a:lnTo>
                <a:lnTo>
                  <a:pt x="552" y="513"/>
                </a:lnTo>
                <a:lnTo>
                  <a:pt x="545" y="546"/>
                </a:lnTo>
                <a:lnTo>
                  <a:pt x="535" y="575"/>
                </a:lnTo>
                <a:lnTo>
                  <a:pt x="525" y="601"/>
                </a:lnTo>
                <a:lnTo>
                  <a:pt x="515" y="624"/>
                </a:lnTo>
                <a:lnTo>
                  <a:pt x="503" y="648"/>
                </a:lnTo>
                <a:lnTo>
                  <a:pt x="491" y="672"/>
                </a:lnTo>
                <a:lnTo>
                  <a:pt x="479" y="695"/>
                </a:lnTo>
                <a:lnTo>
                  <a:pt x="469" y="721"/>
                </a:lnTo>
                <a:lnTo>
                  <a:pt x="460" y="750"/>
                </a:lnTo>
                <a:lnTo>
                  <a:pt x="453" y="783"/>
                </a:lnTo>
                <a:lnTo>
                  <a:pt x="448" y="821"/>
                </a:lnTo>
                <a:lnTo>
                  <a:pt x="447" y="864"/>
                </a:lnTo>
                <a:lnTo>
                  <a:pt x="448" y="907"/>
                </a:lnTo>
                <a:lnTo>
                  <a:pt x="453" y="945"/>
                </a:lnTo>
                <a:lnTo>
                  <a:pt x="460" y="978"/>
                </a:lnTo>
                <a:lnTo>
                  <a:pt x="469" y="1007"/>
                </a:lnTo>
                <a:lnTo>
                  <a:pt x="479" y="1033"/>
                </a:lnTo>
                <a:lnTo>
                  <a:pt x="491" y="1056"/>
                </a:lnTo>
                <a:lnTo>
                  <a:pt x="503" y="1080"/>
                </a:lnTo>
                <a:lnTo>
                  <a:pt x="515" y="1104"/>
                </a:lnTo>
                <a:lnTo>
                  <a:pt x="525" y="1127"/>
                </a:lnTo>
                <a:lnTo>
                  <a:pt x="535" y="1153"/>
                </a:lnTo>
                <a:lnTo>
                  <a:pt x="545" y="1182"/>
                </a:lnTo>
                <a:lnTo>
                  <a:pt x="552" y="1215"/>
                </a:lnTo>
                <a:lnTo>
                  <a:pt x="556" y="1253"/>
                </a:lnTo>
                <a:lnTo>
                  <a:pt x="558" y="1296"/>
                </a:lnTo>
                <a:lnTo>
                  <a:pt x="556" y="1339"/>
                </a:lnTo>
                <a:lnTo>
                  <a:pt x="552" y="1377"/>
                </a:lnTo>
                <a:lnTo>
                  <a:pt x="545" y="1410"/>
                </a:lnTo>
                <a:lnTo>
                  <a:pt x="535" y="1439"/>
                </a:lnTo>
                <a:lnTo>
                  <a:pt x="525" y="1465"/>
                </a:lnTo>
                <a:lnTo>
                  <a:pt x="515" y="1488"/>
                </a:lnTo>
                <a:lnTo>
                  <a:pt x="503" y="1512"/>
                </a:lnTo>
                <a:lnTo>
                  <a:pt x="491" y="1536"/>
                </a:lnTo>
                <a:lnTo>
                  <a:pt x="479" y="1559"/>
                </a:lnTo>
                <a:lnTo>
                  <a:pt x="469" y="1585"/>
                </a:lnTo>
                <a:lnTo>
                  <a:pt x="460" y="1614"/>
                </a:lnTo>
                <a:lnTo>
                  <a:pt x="453" y="1647"/>
                </a:lnTo>
                <a:lnTo>
                  <a:pt x="448" y="1685"/>
                </a:lnTo>
                <a:lnTo>
                  <a:pt x="447" y="1728"/>
                </a:lnTo>
                <a:lnTo>
                  <a:pt x="448" y="1771"/>
                </a:lnTo>
                <a:lnTo>
                  <a:pt x="453" y="1809"/>
                </a:lnTo>
                <a:lnTo>
                  <a:pt x="460" y="1842"/>
                </a:lnTo>
                <a:lnTo>
                  <a:pt x="469" y="1871"/>
                </a:lnTo>
                <a:lnTo>
                  <a:pt x="479" y="1897"/>
                </a:lnTo>
                <a:lnTo>
                  <a:pt x="491" y="1920"/>
                </a:lnTo>
                <a:lnTo>
                  <a:pt x="503" y="1944"/>
                </a:lnTo>
                <a:lnTo>
                  <a:pt x="515" y="1968"/>
                </a:lnTo>
                <a:lnTo>
                  <a:pt x="525" y="1991"/>
                </a:lnTo>
                <a:lnTo>
                  <a:pt x="535" y="2017"/>
                </a:lnTo>
                <a:lnTo>
                  <a:pt x="545" y="2046"/>
                </a:lnTo>
                <a:lnTo>
                  <a:pt x="552" y="2079"/>
                </a:lnTo>
                <a:lnTo>
                  <a:pt x="556" y="2117"/>
                </a:lnTo>
                <a:lnTo>
                  <a:pt x="558" y="2159"/>
                </a:lnTo>
                <a:lnTo>
                  <a:pt x="556" y="2203"/>
                </a:lnTo>
                <a:lnTo>
                  <a:pt x="552" y="2241"/>
                </a:lnTo>
                <a:lnTo>
                  <a:pt x="545" y="2274"/>
                </a:lnTo>
                <a:lnTo>
                  <a:pt x="535" y="2303"/>
                </a:lnTo>
                <a:lnTo>
                  <a:pt x="525" y="2329"/>
                </a:lnTo>
                <a:lnTo>
                  <a:pt x="515" y="2352"/>
                </a:lnTo>
                <a:lnTo>
                  <a:pt x="503" y="2376"/>
                </a:lnTo>
                <a:lnTo>
                  <a:pt x="491" y="2400"/>
                </a:lnTo>
                <a:lnTo>
                  <a:pt x="479" y="2423"/>
                </a:lnTo>
                <a:lnTo>
                  <a:pt x="469" y="2449"/>
                </a:lnTo>
                <a:lnTo>
                  <a:pt x="460" y="2478"/>
                </a:lnTo>
                <a:lnTo>
                  <a:pt x="453" y="2511"/>
                </a:lnTo>
                <a:lnTo>
                  <a:pt x="448" y="2549"/>
                </a:lnTo>
                <a:lnTo>
                  <a:pt x="447" y="2592"/>
                </a:lnTo>
                <a:lnTo>
                  <a:pt x="448" y="2635"/>
                </a:lnTo>
                <a:lnTo>
                  <a:pt x="453" y="2673"/>
                </a:lnTo>
                <a:lnTo>
                  <a:pt x="460" y="2706"/>
                </a:lnTo>
                <a:lnTo>
                  <a:pt x="469" y="2735"/>
                </a:lnTo>
                <a:lnTo>
                  <a:pt x="479" y="2761"/>
                </a:lnTo>
                <a:lnTo>
                  <a:pt x="491" y="2784"/>
                </a:lnTo>
                <a:lnTo>
                  <a:pt x="515" y="2832"/>
                </a:lnTo>
                <a:lnTo>
                  <a:pt x="525" y="2855"/>
                </a:lnTo>
                <a:lnTo>
                  <a:pt x="535" y="2881"/>
                </a:lnTo>
                <a:lnTo>
                  <a:pt x="545" y="2910"/>
                </a:lnTo>
                <a:lnTo>
                  <a:pt x="552" y="2943"/>
                </a:lnTo>
                <a:lnTo>
                  <a:pt x="556" y="2981"/>
                </a:lnTo>
                <a:lnTo>
                  <a:pt x="558" y="3024"/>
                </a:lnTo>
                <a:lnTo>
                  <a:pt x="556" y="3067"/>
                </a:lnTo>
                <a:lnTo>
                  <a:pt x="552" y="3105"/>
                </a:lnTo>
                <a:lnTo>
                  <a:pt x="545" y="3138"/>
                </a:lnTo>
                <a:lnTo>
                  <a:pt x="535" y="3167"/>
                </a:lnTo>
                <a:lnTo>
                  <a:pt x="525" y="3193"/>
                </a:lnTo>
                <a:lnTo>
                  <a:pt x="515" y="3216"/>
                </a:lnTo>
                <a:lnTo>
                  <a:pt x="503" y="3240"/>
                </a:lnTo>
                <a:lnTo>
                  <a:pt x="491" y="3264"/>
                </a:lnTo>
                <a:lnTo>
                  <a:pt x="479" y="3287"/>
                </a:lnTo>
                <a:lnTo>
                  <a:pt x="469" y="3313"/>
                </a:lnTo>
                <a:lnTo>
                  <a:pt x="460" y="3342"/>
                </a:lnTo>
                <a:lnTo>
                  <a:pt x="453" y="3375"/>
                </a:lnTo>
                <a:lnTo>
                  <a:pt x="448" y="3413"/>
                </a:lnTo>
                <a:lnTo>
                  <a:pt x="447" y="3456"/>
                </a:lnTo>
                <a:lnTo>
                  <a:pt x="448" y="3499"/>
                </a:lnTo>
                <a:lnTo>
                  <a:pt x="453" y="3537"/>
                </a:lnTo>
                <a:lnTo>
                  <a:pt x="460" y="3570"/>
                </a:lnTo>
                <a:lnTo>
                  <a:pt x="469" y="3599"/>
                </a:lnTo>
                <a:lnTo>
                  <a:pt x="479" y="3625"/>
                </a:lnTo>
                <a:lnTo>
                  <a:pt x="491" y="3648"/>
                </a:lnTo>
                <a:lnTo>
                  <a:pt x="503" y="3672"/>
                </a:lnTo>
                <a:lnTo>
                  <a:pt x="515" y="3696"/>
                </a:lnTo>
                <a:lnTo>
                  <a:pt x="525" y="3719"/>
                </a:lnTo>
                <a:lnTo>
                  <a:pt x="535" y="3745"/>
                </a:lnTo>
                <a:lnTo>
                  <a:pt x="545" y="3774"/>
                </a:lnTo>
                <a:lnTo>
                  <a:pt x="552" y="3807"/>
                </a:lnTo>
                <a:lnTo>
                  <a:pt x="556" y="3845"/>
                </a:lnTo>
                <a:lnTo>
                  <a:pt x="558" y="3888"/>
                </a:lnTo>
                <a:lnTo>
                  <a:pt x="556" y="3931"/>
                </a:lnTo>
                <a:lnTo>
                  <a:pt x="552" y="3969"/>
                </a:lnTo>
                <a:lnTo>
                  <a:pt x="545" y="4002"/>
                </a:lnTo>
                <a:lnTo>
                  <a:pt x="535" y="4031"/>
                </a:lnTo>
                <a:lnTo>
                  <a:pt x="525" y="4057"/>
                </a:lnTo>
                <a:lnTo>
                  <a:pt x="515" y="4080"/>
                </a:lnTo>
                <a:lnTo>
                  <a:pt x="503" y="4104"/>
                </a:lnTo>
                <a:lnTo>
                  <a:pt x="491" y="4128"/>
                </a:lnTo>
                <a:lnTo>
                  <a:pt x="479" y="4151"/>
                </a:lnTo>
                <a:lnTo>
                  <a:pt x="469" y="4177"/>
                </a:lnTo>
                <a:lnTo>
                  <a:pt x="460" y="4206"/>
                </a:lnTo>
                <a:lnTo>
                  <a:pt x="453" y="4239"/>
                </a:lnTo>
                <a:lnTo>
                  <a:pt x="448" y="4277"/>
                </a:lnTo>
                <a:lnTo>
                  <a:pt x="447" y="4320"/>
                </a:lnTo>
                <a:lnTo>
                  <a:pt x="0" y="432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2" name="Rectangle 11" title="right edge border"/>
          <p:cNvSpPr/>
          <p:nvPr/>
        </p:nvSpPr>
        <p:spPr>
          <a:xfrm>
            <a:off x="11908536" y="0"/>
            <a:ext cx="283464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99451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5" r:id="rId1"/>
    <p:sldLayoutId id="2147483776" r:id="rId2"/>
    <p:sldLayoutId id="2147483777" r:id="rId3"/>
    <p:sldLayoutId id="2147483778" r:id="rId4"/>
    <p:sldLayoutId id="2147483779" r:id="rId5"/>
    <p:sldLayoutId id="2147483780" r:id="rId6"/>
    <p:sldLayoutId id="2147483781" r:id="rId7"/>
    <p:sldLayoutId id="2147483782" r:id="rId8"/>
    <p:sldLayoutId id="2147483783" r:id="rId9"/>
    <p:sldLayoutId id="2147483784" r:id="rId10"/>
    <p:sldLayoutId id="2147483785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5100" kern="1200" cap="all" spc="2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10000"/>
        </a:lnSpc>
        <a:spcBef>
          <a:spcPts val="700"/>
        </a:spcBef>
        <a:buClr>
          <a:schemeClr val="tx2"/>
        </a:buClr>
        <a:buFont typeface="Arial" panose="020B0604020202020204" pitchFamily="34" charset="0"/>
        <a:buChar char="•"/>
        <a:defRPr sz="20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10000"/>
        </a:lnSpc>
        <a:spcBef>
          <a:spcPts val="700"/>
        </a:spcBef>
        <a:buClr>
          <a:schemeClr val="tx2"/>
        </a:buClr>
        <a:buFont typeface="Gill Sans MT" panose="020B0502020104020203" pitchFamily="34" charset="0"/>
        <a:buChar char="–"/>
        <a:defRPr sz="18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10000"/>
        </a:lnSpc>
        <a:spcBef>
          <a:spcPts val="700"/>
        </a:spcBef>
        <a:buClr>
          <a:schemeClr val="tx2"/>
        </a:buClr>
        <a:buFont typeface="Arial" panose="020B0604020202020204" pitchFamily="34" charset="0"/>
        <a:buChar char="•"/>
        <a:defRPr sz="16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ts val="700"/>
        </a:spcBef>
        <a:buClr>
          <a:schemeClr val="tx2"/>
        </a:buClr>
        <a:buFont typeface="Gill Sans MT" panose="020B0502020104020203" pitchFamily="34" charset="0"/>
        <a:buChar char="–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ts val="700"/>
        </a:spcBef>
        <a:buClr>
          <a:schemeClr val="tx2"/>
        </a:buClr>
        <a:buFont typeface="Arial" panose="020B0604020202020204" pitchFamily="34" charset="0"/>
        <a:buChar char="•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110000"/>
        </a:lnSpc>
        <a:spcBef>
          <a:spcPts val="700"/>
        </a:spcBef>
        <a:buClr>
          <a:schemeClr val="tx2"/>
        </a:buClr>
        <a:buFont typeface="Gill Sans MT" panose="020B0502020104020203" pitchFamily="34" charset="0"/>
        <a:buChar char="–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110000"/>
        </a:lnSpc>
        <a:spcBef>
          <a:spcPts val="700"/>
        </a:spcBef>
        <a:buClr>
          <a:schemeClr val="tx2"/>
        </a:buClr>
        <a:buFont typeface="Arial" panose="020B0604020202020204" pitchFamily="34" charset="0"/>
        <a:buChar char="•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110000"/>
        </a:lnSpc>
        <a:spcBef>
          <a:spcPts val="700"/>
        </a:spcBef>
        <a:buClr>
          <a:schemeClr val="tx2"/>
        </a:buClr>
        <a:buFont typeface="Gill Sans MT" panose="020B0502020104020203" pitchFamily="34" charset="0"/>
        <a:buChar char="–"/>
        <a:defRPr sz="1400" kern="1200" baseline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110000"/>
        </a:lnSpc>
        <a:spcBef>
          <a:spcPts val="700"/>
        </a:spcBef>
        <a:buClr>
          <a:schemeClr val="tx2"/>
        </a:buClr>
        <a:buFont typeface="Arial" panose="020B0604020202020204" pitchFamily="34" charset="0"/>
        <a:buChar char="•"/>
        <a:defRPr sz="1400" kern="1200" baseline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792">
          <p15:clr>
            <a:srgbClr val="F26B43"/>
          </p15:clr>
        </p15:guide>
        <p15:guide id="2" pos="7200">
          <p15:clr>
            <a:srgbClr val="F26B43"/>
          </p15:clr>
        </p15:guide>
        <p15:guide id="3" orient="horz" pos="4008">
          <p15:clr>
            <a:srgbClr val="F26B43"/>
          </p15:clr>
        </p15:guide>
        <p15:guide id="4" orient="horz" pos="1440">
          <p15:clr>
            <a:srgbClr val="F26B43"/>
          </p15:clr>
        </p15:guide>
        <p15:guide id="5" orient="horz" pos="3720">
          <p15:clr>
            <a:srgbClr val="F26B43"/>
          </p15:clr>
        </p15:guide>
        <p15:guide id="6" orient="horz" pos="2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9.xml"/></Relationships>
</file>

<file path=ppt/slides/_rels/slide1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19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8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Hình chữ nhật 2">
            <a:extLst>
              <a:ext uri="{FF2B5EF4-FFF2-40B4-BE49-F238E27FC236}">
                <a16:creationId xmlns:a16="http://schemas.microsoft.com/office/drawing/2014/main" id="{D66D922A-D06C-4207-8E92-F6EE29071D89}"/>
              </a:ext>
            </a:extLst>
          </p:cNvPr>
          <p:cNvSpPr/>
          <p:nvPr/>
        </p:nvSpPr>
        <p:spPr>
          <a:xfrm>
            <a:off x="0" y="-152400"/>
            <a:ext cx="12198602" cy="5000625"/>
          </a:xfrm>
          <a:prstGeom prst="rect">
            <a:avLst/>
          </a:prstGeom>
          <a:solidFill>
            <a:srgbClr val="0066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3" name="Hình chữ nhật 9">
            <a:extLst>
              <a:ext uri="{FF2B5EF4-FFF2-40B4-BE49-F238E27FC236}">
                <a16:creationId xmlns:a16="http://schemas.microsoft.com/office/drawing/2014/main" id="{268D7380-2543-4FA5-A17B-9AEFD2795705}"/>
              </a:ext>
            </a:extLst>
          </p:cNvPr>
          <p:cNvSpPr/>
          <p:nvPr/>
        </p:nvSpPr>
        <p:spPr>
          <a:xfrm>
            <a:off x="6602" y="2165596"/>
            <a:ext cx="12192000" cy="2532741"/>
          </a:xfrm>
          <a:prstGeom prst="rect">
            <a:avLst/>
          </a:prstGeom>
          <a:solidFill>
            <a:srgbClr val="006698">
              <a:alpha val="6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4" name="Hình chữ nhật 5">
            <a:extLst>
              <a:ext uri="{FF2B5EF4-FFF2-40B4-BE49-F238E27FC236}">
                <a16:creationId xmlns:a16="http://schemas.microsoft.com/office/drawing/2014/main" id="{2EF79ED1-4A83-4510-8C9A-F850C66D8A3E}"/>
              </a:ext>
            </a:extLst>
          </p:cNvPr>
          <p:cNvSpPr/>
          <p:nvPr/>
        </p:nvSpPr>
        <p:spPr>
          <a:xfrm>
            <a:off x="-658" y="2238829"/>
            <a:ext cx="12192000" cy="238034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2"/>
              </a:solidFill>
            </a:endParaRPr>
          </a:p>
        </p:txBody>
      </p:sp>
      <p:sp>
        <p:nvSpPr>
          <p:cNvPr id="18" name="Hộp Văn bản 10">
            <a:extLst>
              <a:ext uri="{FF2B5EF4-FFF2-40B4-BE49-F238E27FC236}">
                <a16:creationId xmlns:a16="http://schemas.microsoft.com/office/drawing/2014/main" id="{592B7E12-4D80-4AE3-8DC7-C5875F316DDA}"/>
              </a:ext>
            </a:extLst>
          </p:cNvPr>
          <p:cNvSpPr txBox="1"/>
          <p:nvPr/>
        </p:nvSpPr>
        <p:spPr>
          <a:xfrm>
            <a:off x="3514926" y="2797826"/>
            <a:ext cx="832410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5400" b="1" dirty="0" smtClean="0">
                <a:solidFill>
                  <a:srgbClr val="000000"/>
                </a:solidFill>
              </a:rPr>
              <a:t>PAST SIMPLE</a:t>
            </a:r>
            <a:endParaRPr lang="en-US" sz="4000" b="1" dirty="0">
              <a:solidFill>
                <a:srgbClr val="000000"/>
              </a:solidFill>
            </a:endParaRPr>
          </a:p>
        </p:txBody>
      </p:sp>
      <p:sp>
        <p:nvSpPr>
          <p:cNvPr id="19" name="Hình chữ nhật 11">
            <a:extLst>
              <a:ext uri="{FF2B5EF4-FFF2-40B4-BE49-F238E27FC236}">
                <a16:creationId xmlns:a16="http://schemas.microsoft.com/office/drawing/2014/main" id="{151A9104-93F1-430B-B630-E7BD646A0D64}"/>
              </a:ext>
            </a:extLst>
          </p:cNvPr>
          <p:cNvSpPr/>
          <p:nvPr/>
        </p:nvSpPr>
        <p:spPr>
          <a:xfrm>
            <a:off x="8167575" y="2101105"/>
            <a:ext cx="3671454" cy="9698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0" name="Hình chữ nhật 12">
            <a:extLst>
              <a:ext uri="{FF2B5EF4-FFF2-40B4-BE49-F238E27FC236}">
                <a16:creationId xmlns:a16="http://schemas.microsoft.com/office/drawing/2014/main" id="{E89211B6-72B8-40C3-A995-4AD873B7E79E}"/>
              </a:ext>
            </a:extLst>
          </p:cNvPr>
          <p:cNvSpPr/>
          <p:nvPr/>
        </p:nvSpPr>
        <p:spPr>
          <a:xfrm>
            <a:off x="242131" y="4650344"/>
            <a:ext cx="3671454" cy="9698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pic>
        <p:nvPicPr>
          <p:cNvPr id="32" name="Picture 31"/>
          <p:cNvPicPr>
            <a:picLocks noChangeAspect="1"/>
          </p:cNvPicPr>
          <p:nvPr/>
        </p:nvPicPr>
        <p:blipFill rotWithShape="1">
          <a:blip r:embed="rId2">
            <a:clrChange>
              <a:clrFrom>
                <a:srgbClr val="F5E8D8"/>
              </a:clrFrom>
              <a:clrTo>
                <a:srgbClr val="F5E8D8">
                  <a:alpha val="0"/>
                </a:srgbClr>
              </a:clrTo>
            </a:clrChange>
          </a:blip>
          <a:srcRect l="5474" t="373" r="8712" b="1344"/>
          <a:stretch/>
        </p:blipFill>
        <p:spPr>
          <a:xfrm>
            <a:off x="283367" y="721274"/>
            <a:ext cx="3469055" cy="3383280"/>
          </a:xfrm>
          <a:prstGeom prst="rect">
            <a:avLst/>
          </a:prstGeom>
        </p:spPr>
      </p:pic>
      <p:pic>
        <p:nvPicPr>
          <p:cNvPr id="21" name="Hình ảnh 14">
            <a:extLst>
              <a:ext uri="{FF2B5EF4-FFF2-40B4-BE49-F238E27FC236}">
                <a16:creationId xmlns:a16="http://schemas.microsoft.com/office/drawing/2014/main" id="{21DAF3B5-398A-44FF-8033-5661661FFDC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4976"/>
          <a:stretch/>
        </p:blipFill>
        <p:spPr>
          <a:xfrm>
            <a:off x="791289" y="1416509"/>
            <a:ext cx="2306030" cy="1730083"/>
          </a:xfrm>
          <a:prstGeom prst="rect">
            <a:avLst/>
          </a:prstGeom>
        </p:spPr>
      </p:pic>
      <p:sp>
        <p:nvSpPr>
          <p:cNvPr id="23" name="Hộp Văn bản 3">
            <a:extLst>
              <a:ext uri="{FF2B5EF4-FFF2-40B4-BE49-F238E27FC236}">
                <a16:creationId xmlns:a16="http://schemas.microsoft.com/office/drawing/2014/main" id="{171ACF05-1D59-4589-818C-92E76275940F}"/>
              </a:ext>
            </a:extLst>
          </p:cNvPr>
          <p:cNvSpPr txBox="1"/>
          <p:nvPr/>
        </p:nvSpPr>
        <p:spPr>
          <a:xfrm>
            <a:off x="5075128" y="163904"/>
            <a:ext cx="6763901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3600" b="1" dirty="0">
                <a:solidFill>
                  <a:schemeClr val="bg1"/>
                </a:solidFill>
              </a:rPr>
              <a:t>HỌC VIỆN ĐÀO TẠO QUỐC TẾ </a:t>
            </a:r>
            <a:r>
              <a:rPr lang="en-US" sz="3600" b="1" dirty="0" err="1">
                <a:solidFill>
                  <a:schemeClr val="bg1"/>
                </a:solidFill>
              </a:rPr>
              <a:t>ANi</a:t>
            </a:r>
            <a:endParaRPr lang="en-US" sz="3600" b="1" dirty="0">
              <a:solidFill>
                <a:schemeClr val="bg1"/>
              </a:solidFill>
            </a:endParaRPr>
          </a:p>
          <a:p>
            <a:pPr algn="r"/>
            <a:r>
              <a:rPr lang="en-US" sz="2000" b="1" spc="400" dirty="0">
                <a:solidFill>
                  <a:schemeClr val="bg1"/>
                </a:solidFill>
              </a:rPr>
              <a:t>ACADEMY OF NETWORK AND INNOVATIONS</a:t>
            </a:r>
          </a:p>
        </p:txBody>
      </p:sp>
      <p:sp>
        <p:nvSpPr>
          <p:cNvPr id="24" name="Hình chữ nhật 4">
            <a:extLst>
              <a:ext uri="{FF2B5EF4-FFF2-40B4-BE49-F238E27FC236}">
                <a16:creationId xmlns:a16="http://schemas.microsoft.com/office/drawing/2014/main" id="{979AEA6D-8EF7-42D3-AB34-92EDB55285A1}"/>
              </a:ext>
            </a:extLst>
          </p:cNvPr>
          <p:cNvSpPr/>
          <p:nvPr/>
        </p:nvSpPr>
        <p:spPr>
          <a:xfrm rot="16200000">
            <a:off x="8362950" y="5556047"/>
            <a:ext cx="504825" cy="45719"/>
          </a:xfrm>
          <a:prstGeom prst="rect">
            <a:avLst/>
          </a:prstGeom>
          <a:solidFill>
            <a:srgbClr val="0066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5" name="Hộp Văn bản 15">
            <a:extLst>
              <a:ext uri="{FF2B5EF4-FFF2-40B4-BE49-F238E27FC236}">
                <a16:creationId xmlns:a16="http://schemas.microsoft.com/office/drawing/2014/main" id="{29C0EFD4-CE08-4DD2-B009-5EAD3FB258FD}"/>
              </a:ext>
            </a:extLst>
          </p:cNvPr>
          <p:cNvSpPr txBox="1"/>
          <p:nvPr/>
        </p:nvSpPr>
        <p:spPr>
          <a:xfrm>
            <a:off x="7391151" y="5373243"/>
            <a:ext cx="114486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2000" dirty="0">
                <a:solidFill>
                  <a:srgbClr val="000000"/>
                </a:solidFill>
              </a:rPr>
              <a:t>TEACHER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5" name="Hộp Văn bản 1">
            <a:extLst>
              <a:ext uri="{FF2B5EF4-FFF2-40B4-BE49-F238E27FC236}">
                <a16:creationId xmlns:a16="http://schemas.microsoft.com/office/drawing/2014/main" id="{8F73B06E-BDE4-4649-9842-9FB117FD00F9}"/>
              </a:ext>
            </a:extLst>
          </p:cNvPr>
          <p:cNvSpPr txBox="1"/>
          <p:nvPr/>
        </p:nvSpPr>
        <p:spPr>
          <a:xfrm>
            <a:off x="8751196" y="5078754"/>
            <a:ext cx="160973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 smtClean="0">
                <a:solidFill>
                  <a:srgbClr val="006698"/>
                </a:solidFill>
                <a:latin typeface="UTM Swiss Condensed" panose="02000500000000000000" pitchFamily="2" charset="0"/>
              </a:rPr>
              <a:t>Ms. </a:t>
            </a:r>
            <a:r>
              <a:rPr lang="en-US" sz="2000" dirty="0" err="1" smtClean="0">
                <a:solidFill>
                  <a:srgbClr val="006698"/>
                </a:solidFill>
                <a:latin typeface="UTM Swiss Condensed" panose="02000500000000000000" pitchFamily="2" charset="0"/>
              </a:rPr>
              <a:t>Linh</a:t>
            </a:r>
            <a:r>
              <a:rPr lang="en-US" sz="2000" dirty="0" smtClean="0">
                <a:solidFill>
                  <a:srgbClr val="006698"/>
                </a:solidFill>
                <a:latin typeface="UTM Swiss Condensed" panose="02000500000000000000" pitchFamily="2" charset="0"/>
              </a:rPr>
              <a:t> Chi</a:t>
            </a:r>
            <a:endParaRPr lang="en-US" dirty="0">
              <a:solidFill>
                <a:srgbClr val="006698"/>
              </a:solidFill>
              <a:latin typeface="UTM Swiss Condensed" panose="020005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506397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9812" y="3240459"/>
            <a:ext cx="2174980" cy="951135"/>
          </a:xfrm>
        </p:spPr>
        <p:txBody>
          <a:bodyPr>
            <a:noAutofit/>
          </a:bodyPr>
          <a:lstStyle/>
          <a:p>
            <a:r>
              <a:rPr lang="en-US" sz="2800" dirty="0" smtClean="0"/>
              <a:t>II.RULES</a:t>
            </a:r>
            <a:endParaRPr lang="en-US" sz="2800" dirty="0"/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23772994"/>
              </p:ext>
            </p:extLst>
          </p:nvPr>
        </p:nvGraphicFramePr>
        <p:xfrm>
          <a:off x="2963008" y="1159282"/>
          <a:ext cx="8651630" cy="5638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7518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7432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23324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40">
                <a:tc gridSpan="2">
                  <a:txBody>
                    <a:bodyPr/>
                    <a:lstStyle/>
                    <a:p>
                      <a:pPr algn="ctr"/>
                      <a:r>
                        <a:rPr lang="en-US" sz="2000" dirty="0" smtClean="0"/>
                        <a:t>Spelling rules</a:t>
                      </a:r>
                      <a:endParaRPr lang="vi-VN" sz="20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vi-VN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 smtClean="0"/>
                        <a:t>Exa</a:t>
                      </a:r>
                      <a:r>
                        <a:rPr lang="en-US" sz="2000" baseline="0" dirty="0" smtClean="0"/>
                        <a:t>mple</a:t>
                      </a:r>
                      <a:endParaRPr lang="vi-VN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sz="2000" dirty="0" smtClean="0"/>
                        <a:t>1. V-e</a:t>
                      </a:r>
                      <a:endParaRPr lang="vi-VN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sz="2000" dirty="0" err="1" smtClean="0">
                          <a:sym typeface="Wingdings" pitchFamily="2" charset="2"/>
                        </a:rPr>
                        <a:t>Chỉ</a:t>
                      </a:r>
                      <a:r>
                        <a:rPr lang="en-US" sz="2000" dirty="0" smtClean="0">
                          <a:sym typeface="Wingdings" pitchFamily="2" charset="2"/>
                        </a:rPr>
                        <a:t> </a:t>
                      </a:r>
                      <a:r>
                        <a:rPr lang="en-US" sz="2000" dirty="0" err="1" smtClean="0">
                          <a:sym typeface="Wingdings" pitchFamily="2" charset="2"/>
                        </a:rPr>
                        <a:t>thêm</a:t>
                      </a:r>
                      <a:r>
                        <a:rPr lang="en-US" sz="2000" baseline="0" dirty="0" smtClean="0">
                          <a:sym typeface="Wingdings" pitchFamily="2" charset="2"/>
                        </a:rPr>
                        <a:t> d</a:t>
                      </a:r>
                      <a:endParaRPr lang="vi-VN" sz="20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sz="2000" dirty="0" smtClean="0"/>
                        <a:t>Live</a:t>
                      </a:r>
                      <a:r>
                        <a:rPr lang="en-US" sz="2000" baseline="0" dirty="0" smtClean="0"/>
                        <a:t> </a:t>
                      </a:r>
                      <a:r>
                        <a:rPr lang="en-US" sz="2000" baseline="0" dirty="0" smtClean="0">
                          <a:sym typeface="Wingdings" pitchFamily="2" charset="2"/>
                        </a:rPr>
                        <a:t> live</a:t>
                      </a:r>
                      <a:r>
                        <a:rPr lang="en-US" sz="2000" b="1" baseline="0" dirty="0" smtClean="0">
                          <a:sym typeface="Wingdings" pitchFamily="2" charset="2"/>
                        </a:rPr>
                        <a:t>d</a:t>
                      </a:r>
                      <a:endParaRPr lang="vi-VN" sz="20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sz="2000" dirty="0" smtClean="0"/>
                        <a:t>2. V-y</a:t>
                      </a:r>
                      <a:r>
                        <a:rPr lang="en-US" sz="2000" baseline="0" dirty="0" smtClean="0"/>
                        <a:t> </a:t>
                      </a:r>
                    </a:p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en-US" sz="2000" baseline="0" dirty="0" err="1" smtClean="0"/>
                        <a:t>Trước</a:t>
                      </a:r>
                      <a:r>
                        <a:rPr lang="en-US" sz="2000" baseline="0" dirty="0" smtClean="0"/>
                        <a:t> y </a:t>
                      </a:r>
                      <a:r>
                        <a:rPr lang="en-US" sz="2000" baseline="0" dirty="0" err="1" smtClean="0"/>
                        <a:t>là</a:t>
                      </a:r>
                      <a:r>
                        <a:rPr lang="en-US" sz="2000" baseline="0" dirty="0" smtClean="0"/>
                        <a:t> </a:t>
                      </a:r>
                      <a:r>
                        <a:rPr lang="en-US" sz="2000" baseline="0" dirty="0" err="1" smtClean="0"/>
                        <a:t>nguyên</a:t>
                      </a:r>
                      <a:r>
                        <a:rPr lang="en-US" sz="2000" baseline="0" dirty="0" smtClean="0"/>
                        <a:t> </a:t>
                      </a:r>
                      <a:r>
                        <a:rPr lang="en-US" sz="2000" baseline="0" dirty="0" err="1" smtClean="0"/>
                        <a:t>âm</a:t>
                      </a:r>
                      <a:r>
                        <a:rPr lang="en-US" sz="2000" baseline="0" dirty="0" smtClean="0"/>
                        <a:t>:</a:t>
                      </a:r>
                      <a:endParaRPr lang="en-US" sz="2000" baseline="0" dirty="0" smtClean="0">
                        <a:sym typeface="Wingdings" pitchFamily="2" charset="2"/>
                      </a:endParaRPr>
                    </a:p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en-US" sz="2000" baseline="0" dirty="0" err="1" smtClean="0"/>
                        <a:t>Trước</a:t>
                      </a:r>
                      <a:r>
                        <a:rPr lang="en-US" sz="2000" baseline="0" dirty="0" smtClean="0"/>
                        <a:t> y </a:t>
                      </a:r>
                      <a:r>
                        <a:rPr lang="en-US" sz="2000" baseline="0" dirty="0" err="1" smtClean="0"/>
                        <a:t>là</a:t>
                      </a:r>
                      <a:r>
                        <a:rPr lang="en-US" sz="2000" baseline="0" dirty="0" smtClean="0"/>
                        <a:t> </a:t>
                      </a:r>
                      <a:r>
                        <a:rPr lang="en-US" sz="2000" baseline="0" dirty="0" err="1" smtClean="0"/>
                        <a:t>phụ</a:t>
                      </a:r>
                      <a:r>
                        <a:rPr lang="en-US" sz="2000" baseline="0" dirty="0" smtClean="0"/>
                        <a:t> </a:t>
                      </a:r>
                      <a:r>
                        <a:rPr lang="en-US" sz="2000" baseline="0" dirty="0" err="1" smtClean="0"/>
                        <a:t>âm</a:t>
                      </a:r>
                      <a:r>
                        <a:rPr lang="en-US" sz="2000" baseline="0" dirty="0" smtClean="0"/>
                        <a:t>:</a:t>
                      </a:r>
                      <a:endParaRPr lang="vi-VN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lang="en-US" sz="2000" b="1" dirty="0" smtClean="0"/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aseline="0" dirty="0" err="1" smtClean="0">
                          <a:sym typeface="Wingdings" pitchFamily="2" charset="2"/>
                        </a:rPr>
                        <a:t>thêm</a:t>
                      </a:r>
                      <a:r>
                        <a:rPr lang="en-US" sz="2000" baseline="0" dirty="0" smtClean="0">
                          <a:sym typeface="Wingdings" pitchFamily="2" charset="2"/>
                        </a:rPr>
                        <a:t> </a:t>
                      </a:r>
                      <a:r>
                        <a:rPr lang="en-US" sz="2000" baseline="0" dirty="0" err="1" smtClean="0">
                          <a:sym typeface="Wingdings" pitchFamily="2" charset="2"/>
                        </a:rPr>
                        <a:t>ed</a:t>
                      </a:r>
                      <a:r>
                        <a:rPr lang="en-US" sz="2000" baseline="0" dirty="0" smtClean="0">
                          <a:sym typeface="Wingdings" pitchFamily="2" charset="2"/>
                        </a:rPr>
                        <a:t> </a:t>
                      </a:r>
                      <a:r>
                        <a:rPr lang="en-US" sz="2000" baseline="0" dirty="0" err="1" smtClean="0">
                          <a:sym typeface="Wingdings" pitchFamily="2" charset="2"/>
                        </a:rPr>
                        <a:t>như</a:t>
                      </a:r>
                      <a:r>
                        <a:rPr lang="en-US" sz="2000" baseline="0" dirty="0" smtClean="0">
                          <a:sym typeface="Wingdings" pitchFamily="2" charset="2"/>
                        </a:rPr>
                        <a:t> </a:t>
                      </a:r>
                      <a:r>
                        <a:rPr lang="en-US" sz="2000" baseline="0" dirty="0" err="1" smtClean="0">
                          <a:sym typeface="Wingdings" pitchFamily="2" charset="2"/>
                        </a:rPr>
                        <a:t>bình</a:t>
                      </a:r>
                      <a:r>
                        <a:rPr lang="en-US" sz="2000" baseline="0" dirty="0" smtClean="0">
                          <a:sym typeface="Wingdings" pitchFamily="2" charset="2"/>
                        </a:rPr>
                        <a:t> </a:t>
                      </a:r>
                      <a:r>
                        <a:rPr lang="en-US" sz="2000" baseline="0" dirty="0" err="1" smtClean="0">
                          <a:sym typeface="Wingdings" pitchFamily="2" charset="2"/>
                        </a:rPr>
                        <a:t>thường</a:t>
                      </a:r>
                      <a:r>
                        <a:rPr lang="en-US" sz="2000" baseline="0" dirty="0" smtClean="0"/>
                        <a:t>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aseline="0" dirty="0" err="1" smtClean="0">
                          <a:sym typeface="Wingdings" pitchFamily="2" charset="2"/>
                        </a:rPr>
                        <a:t>bỏ</a:t>
                      </a:r>
                      <a:r>
                        <a:rPr lang="en-US" sz="2000" baseline="0" dirty="0" smtClean="0">
                          <a:sym typeface="Wingdings" pitchFamily="2" charset="2"/>
                        </a:rPr>
                        <a:t> y </a:t>
                      </a:r>
                      <a:r>
                        <a:rPr lang="en-US" sz="2000" baseline="0" dirty="0" err="1" smtClean="0">
                          <a:sym typeface="Wingdings" pitchFamily="2" charset="2"/>
                        </a:rPr>
                        <a:t>thêm</a:t>
                      </a:r>
                      <a:r>
                        <a:rPr lang="en-US" sz="2000" baseline="0" dirty="0" smtClean="0">
                          <a:sym typeface="Wingdings" pitchFamily="2" charset="2"/>
                        </a:rPr>
                        <a:t> </a:t>
                      </a:r>
                      <a:r>
                        <a:rPr lang="en-US" sz="2000" baseline="0" dirty="0" err="1" smtClean="0">
                          <a:sym typeface="Wingdings" pitchFamily="2" charset="2"/>
                        </a:rPr>
                        <a:t>ied</a:t>
                      </a:r>
                      <a:endParaRPr lang="vi-VN" sz="20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lang="en-US" sz="2000" dirty="0" smtClean="0"/>
                    </a:p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sz="2000" dirty="0" smtClean="0"/>
                        <a:t>Stay </a:t>
                      </a:r>
                      <a:r>
                        <a:rPr lang="en-US" sz="2000" dirty="0" smtClean="0">
                          <a:sym typeface="Wingdings" pitchFamily="2" charset="2"/>
                        </a:rPr>
                        <a:t> stay</a:t>
                      </a:r>
                      <a:r>
                        <a:rPr lang="en-US" sz="2000" b="1" dirty="0" smtClean="0">
                          <a:sym typeface="Wingdings" pitchFamily="2" charset="2"/>
                        </a:rPr>
                        <a:t>ed</a:t>
                      </a:r>
                    </a:p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sz="2000" dirty="0" smtClean="0"/>
                        <a:t>Study</a:t>
                      </a:r>
                      <a:r>
                        <a:rPr lang="en-US" sz="2000" baseline="0" dirty="0" smtClean="0"/>
                        <a:t> </a:t>
                      </a:r>
                      <a:r>
                        <a:rPr lang="en-US" sz="2000" baseline="0" dirty="0" smtClean="0">
                          <a:sym typeface="Wingdings" pitchFamily="2" charset="2"/>
                        </a:rPr>
                        <a:t> stud</a:t>
                      </a:r>
                      <a:r>
                        <a:rPr lang="en-US" sz="2000" b="1" baseline="0" dirty="0" smtClean="0">
                          <a:sym typeface="Wingdings" pitchFamily="2" charset="2"/>
                        </a:rPr>
                        <a:t>ied</a:t>
                      </a:r>
                      <a:endParaRPr lang="vi-VN" sz="20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sz="2000" dirty="0" smtClean="0"/>
                        <a:t>3. V </a:t>
                      </a:r>
                      <a:r>
                        <a:rPr lang="en-US" sz="2000" dirty="0" err="1" smtClean="0"/>
                        <a:t>có</a:t>
                      </a:r>
                      <a:r>
                        <a:rPr lang="en-US" sz="2000" dirty="0" smtClean="0"/>
                        <a:t>:</a:t>
                      </a:r>
                      <a:r>
                        <a:rPr lang="en-US" sz="2000" baseline="0" dirty="0" smtClean="0"/>
                        <a:t> </a:t>
                      </a:r>
                    </a:p>
                    <a:p>
                      <a:pPr marL="342900" indent="-342900">
                        <a:lnSpc>
                          <a:spcPct val="100000"/>
                        </a:lnSpc>
                        <a:buFontTx/>
                        <a:buChar char="-"/>
                      </a:pPr>
                      <a:r>
                        <a:rPr lang="en-US" sz="2000" baseline="0" dirty="0" smtClean="0"/>
                        <a:t>1 </a:t>
                      </a:r>
                      <a:r>
                        <a:rPr lang="en-US" sz="2000" baseline="0" dirty="0" err="1" smtClean="0"/>
                        <a:t>âm</a:t>
                      </a:r>
                      <a:r>
                        <a:rPr lang="en-US" sz="2000" baseline="0" dirty="0" smtClean="0"/>
                        <a:t> </a:t>
                      </a:r>
                      <a:r>
                        <a:rPr lang="en-US" sz="2000" baseline="0" dirty="0" err="1" smtClean="0"/>
                        <a:t>tiết</a:t>
                      </a:r>
                      <a:endParaRPr lang="en-US" sz="2000" baseline="0" dirty="0" smtClean="0"/>
                    </a:p>
                    <a:p>
                      <a:pPr marL="342900" indent="-342900">
                        <a:lnSpc>
                          <a:spcPct val="100000"/>
                        </a:lnSpc>
                        <a:buFontTx/>
                        <a:buChar char="-"/>
                      </a:pPr>
                      <a:r>
                        <a:rPr lang="en-US" sz="2000" baseline="0" dirty="0" smtClean="0"/>
                        <a:t>3 </a:t>
                      </a:r>
                      <a:r>
                        <a:rPr lang="en-US" sz="2000" baseline="0" dirty="0" err="1" smtClean="0"/>
                        <a:t>chữ</a:t>
                      </a:r>
                      <a:r>
                        <a:rPr lang="en-US" sz="2000" baseline="0" dirty="0" smtClean="0"/>
                        <a:t> </a:t>
                      </a:r>
                      <a:r>
                        <a:rPr lang="en-US" sz="2000" baseline="0" dirty="0" err="1" smtClean="0"/>
                        <a:t>cái</a:t>
                      </a:r>
                      <a:r>
                        <a:rPr lang="en-US" sz="2000" baseline="0" dirty="0" smtClean="0"/>
                        <a:t> </a:t>
                      </a:r>
                      <a:r>
                        <a:rPr lang="en-US" sz="2000" baseline="0" dirty="0" err="1" smtClean="0"/>
                        <a:t>cuối</a:t>
                      </a:r>
                      <a:r>
                        <a:rPr lang="en-US" sz="2000" baseline="0" dirty="0" smtClean="0"/>
                        <a:t> </a:t>
                      </a:r>
                      <a:r>
                        <a:rPr lang="en-US" sz="2000" baseline="0" dirty="0" err="1" smtClean="0"/>
                        <a:t>gồm</a:t>
                      </a:r>
                      <a:r>
                        <a:rPr lang="en-US" sz="2000" baseline="0" dirty="0" smtClean="0"/>
                        <a:t> 1 </a:t>
                      </a:r>
                      <a:r>
                        <a:rPr lang="en-US" sz="2000" baseline="0" dirty="0" err="1" smtClean="0"/>
                        <a:t>nguyên</a:t>
                      </a:r>
                      <a:r>
                        <a:rPr lang="en-US" sz="2000" baseline="0" dirty="0" smtClean="0"/>
                        <a:t> </a:t>
                      </a:r>
                      <a:r>
                        <a:rPr lang="en-US" sz="2000" baseline="0" dirty="0" err="1" smtClean="0"/>
                        <a:t>âm</a:t>
                      </a:r>
                      <a:r>
                        <a:rPr lang="en-US" sz="2000" baseline="0" dirty="0" smtClean="0"/>
                        <a:t> </a:t>
                      </a:r>
                      <a:r>
                        <a:rPr lang="en-US" sz="2000" baseline="0" dirty="0" err="1" smtClean="0"/>
                        <a:t>kẹp</a:t>
                      </a:r>
                      <a:r>
                        <a:rPr lang="en-US" sz="2000" baseline="0" dirty="0" smtClean="0"/>
                        <a:t> </a:t>
                      </a:r>
                      <a:r>
                        <a:rPr lang="en-US" sz="2000" baseline="0" dirty="0" err="1" smtClean="0"/>
                        <a:t>giữa</a:t>
                      </a:r>
                      <a:r>
                        <a:rPr lang="en-US" sz="2000" baseline="0" dirty="0" smtClean="0"/>
                        <a:t> 2 </a:t>
                      </a:r>
                      <a:r>
                        <a:rPr lang="en-US" sz="2000" baseline="0" dirty="0" err="1" smtClean="0"/>
                        <a:t>phụ</a:t>
                      </a:r>
                      <a:r>
                        <a:rPr lang="en-US" sz="2000" baseline="0" dirty="0" smtClean="0"/>
                        <a:t> </a:t>
                      </a:r>
                      <a:r>
                        <a:rPr lang="en-US" sz="2000" baseline="0" dirty="0" err="1" smtClean="0"/>
                        <a:t>âm</a:t>
                      </a:r>
                      <a:r>
                        <a:rPr lang="en-US" sz="2000" baseline="0" dirty="0" smtClean="0"/>
                        <a:t> (p-n-p)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2000" baseline="0" dirty="0" smtClean="0">
                        <a:sym typeface="Wingdings" pitchFamily="2" charset="2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aseline="0" dirty="0" err="1" smtClean="0">
                          <a:sym typeface="Wingdings" pitchFamily="2" charset="2"/>
                        </a:rPr>
                        <a:t>gấp</a:t>
                      </a:r>
                      <a:r>
                        <a:rPr lang="en-US" sz="2000" baseline="0" dirty="0" smtClean="0">
                          <a:sym typeface="Wingdings" pitchFamily="2" charset="2"/>
                        </a:rPr>
                        <a:t> </a:t>
                      </a:r>
                      <a:r>
                        <a:rPr lang="en-US" sz="2000" baseline="0" dirty="0" err="1" smtClean="0">
                          <a:sym typeface="Wingdings" pitchFamily="2" charset="2"/>
                        </a:rPr>
                        <a:t>đôi</a:t>
                      </a:r>
                      <a:r>
                        <a:rPr lang="en-US" sz="2000" baseline="0" dirty="0" smtClean="0">
                          <a:sym typeface="Wingdings" pitchFamily="2" charset="2"/>
                        </a:rPr>
                        <a:t> </a:t>
                      </a:r>
                      <a:r>
                        <a:rPr lang="en-US" sz="2000" baseline="0" dirty="0" err="1" smtClean="0">
                          <a:sym typeface="Wingdings" pitchFamily="2" charset="2"/>
                        </a:rPr>
                        <a:t>phụ</a:t>
                      </a:r>
                      <a:r>
                        <a:rPr lang="en-US" sz="2000" baseline="0" dirty="0" smtClean="0">
                          <a:sym typeface="Wingdings" pitchFamily="2" charset="2"/>
                        </a:rPr>
                        <a:t> </a:t>
                      </a:r>
                      <a:r>
                        <a:rPr lang="en-US" sz="2000" baseline="0" dirty="0" err="1" smtClean="0">
                          <a:sym typeface="Wingdings" pitchFamily="2" charset="2"/>
                        </a:rPr>
                        <a:t>âm</a:t>
                      </a:r>
                      <a:r>
                        <a:rPr lang="en-US" sz="2000" baseline="0" dirty="0" smtClean="0">
                          <a:sym typeface="Wingdings" pitchFamily="2" charset="2"/>
                        </a:rPr>
                        <a:t> </a:t>
                      </a:r>
                      <a:r>
                        <a:rPr lang="en-US" sz="2000" baseline="0" dirty="0" err="1" smtClean="0">
                          <a:sym typeface="Wingdings" pitchFamily="2" charset="2"/>
                        </a:rPr>
                        <a:t>cuối</a:t>
                      </a:r>
                      <a:r>
                        <a:rPr lang="en-US" sz="2000" baseline="0" dirty="0" smtClean="0">
                          <a:sym typeface="Wingdings" pitchFamily="2" charset="2"/>
                        </a:rPr>
                        <a:t> </a:t>
                      </a:r>
                      <a:r>
                        <a:rPr lang="en-US" sz="2000" baseline="0" dirty="0" err="1" smtClean="0">
                          <a:sym typeface="Wingdings" pitchFamily="2" charset="2"/>
                        </a:rPr>
                        <a:t>rồi</a:t>
                      </a:r>
                      <a:r>
                        <a:rPr lang="en-US" sz="2000" baseline="0" dirty="0" smtClean="0">
                          <a:sym typeface="Wingdings" pitchFamily="2" charset="2"/>
                        </a:rPr>
                        <a:t> </a:t>
                      </a:r>
                      <a:r>
                        <a:rPr lang="en-US" sz="2000" baseline="0" dirty="0" err="1" smtClean="0">
                          <a:sym typeface="Wingdings" pitchFamily="2" charset="2"/>
                        </a:rPr>
                        <a:t>thêm</a:t>
                      </a:r>
                      <a:r>
                        <a:rPr lang="en-US" sz="2000" baseline="0" dirty="0" smtClean="0">
                          <a:sym typeface="Wingdings" pitchFamily="2" charset="2"/>
                        </a:rPr>
                        <a:t> </a:t>
                      </a:r>
                      <a:r>
                        <a:rPr lang="en-US" sz="2000" baseline="0" dirty="0" err="1" smtClean="0">
                          <a:sym typeface="Wingdings" pitchFamily="2" charset="2"/>
                        </a:rPr>
                        <a:t>ed</a:t>
                      </a:r>
                      <a:endParaRPr lang="vi-VN" sz="2000" dirty="0" smtClean="0"/>
                    </a:p>
                    <a:p>
                      <a:pPr>
                        <a:lnSpc>
                          <a:spcPct val="100000"/>
                        </a:lnSpc>
                      </a:pPr>
                      <a:endParaRPr lang="vi-VN" sz="20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lang="en-US" sz="2000" dirty="0" smtClean="0"/>
                    </a:p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sz="2000" dirty="0" smtClean="0"/>
                        <a:t>Stop</a:t>
                      </a:r>
                      <a:r>
                        <a:rPr lang="en-US" sz="2000" baseline="0" dirty="0" smtClean="0"/>
                        <a:t> </a:t>
                      </a:r>
                      <a:r>
                        <a:rPr lang="en-US" sz="2000" baseline="0" dirty="0" smtClean="0">
                          <a:sym typeface="Wingdings" pitchFamily="2" charset="2"/>
                        </a:rPr>
                        <a:t> stop</a:t>
                      </a:r>
                      <a:r>
                        <a:rPr lang="en-US" sz="2000" b="1" baseline="0" dirty="0" smtClean="0">
                          <a:sym typeface="Wingdings" pitchFamily="2" charset="2"/>
                        </a:rPr>
                        <a:t>ped</a:t>
                      </a:r>
                      <a:endParaRPr lang="vi-VN" sz="20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 smtClean="0"/>
                        <a:t>4.</a:t>
                      </a:r>
                      <a:r>
                        <a:rPr lang="en-US" sz="2000" baseline="0" dirty="0" smtClean="0"/>
                        <a:t> V </a:t>
                      </a:r>
                      <a:r>
                        <a:rPr lang="en-US" sz="2000" baseline="0" dirty="0" err="1" smtClean="0"/>
                        <a:t>có</a:t>
                      </a:r>
                      <a:r>
                        <a:rPr lang="en-US" sz="2000" baseline="0" dirty="0" smtClean="0"/>
                        <a:t> :</a:t>
                      </a:r>
                    </a:p>
                    <a:p>
                      <a:pPr marL="342900" marR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US" sz="2000" baseline="0" dirty="0" smtClean="0"/>
                        <a:t>2 </a:t>
                      </a:r>
                      <a:r>
                        <a:rPr lang="en-US" sz="2000" baseline="0" dirty="0" err="1" smtClean="0"/>
                        <a:t>âm</a:t>
                      </a:r>
                      <a:r>
                        <a:rPr lang="en-US" sz="2000" baseline="0" dirty="0" smtClean="0"/>
                        <a:t> </a:t>
                      </a:r>
                      <a:r>
                        <a:rPr lang="en-US" sz="2000" baseline="0" dirty="0" err="1" smtClean="0"/>
                        <a:t>tiết</a:t>
                      </a:r>
                      <a:endParaRPr lang="en-US" sz="2000" baseline="0" dirty="0" smtClean="0"/>
                    </a:p>
                    <a:p>
                      <a:pPr marL="342900" marR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US" sz="2000" baseline="0" dirty="0" err="1" smtClean="0"/>
                        <a:t>nhấn</a:t>
                      </a:r>
                      <a:r>
                        <a:rPr lang="en-US" sz="2000" baseline="0" dirty="0" smtClean="0"/>
                        <a:t> </a:t>
                      </a:r>
                      <a:r>
                        <a:rPr lang="en-US" sz="2000" baseline="0" dirty="0" err="1" smtClean="0"/>
                        <a:t>âm</a:t>
                      </a:r>
                      <a:r>
                        <a:rPr lang="en-US" sz="2000" baseline="0" dirty="0" smtClean="0"/>
                        <a:t> 2</a:t>
                      </a:r>
                    </a:p>
                    <a:p>
                      <a:pPr marL="342900" marR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US" sz="2000" baseline="0" dirty="0" smtClean="0"/>
                        <a:t>3 </a:t>
                      </a:r>
                      <a:r>
                        <a:rPr lang="en-US" sz="2000" baseline="0" dirty="0" err="1" smtClean="0"/>
                        <a:t>chữ</a:t>
                      </a:r>
                      <a:r>
                        <a:rPr lang="en-US" sz="2000" baseline="0" dirty="0" smtClean="0"/>
                        <a:t> </a:t>
                      </a:r>
                      <a:r>
                        <a:rPr lang="en-US" sz="2000" baseline="0" dirty="0" err="1" smtClean="0"/>
                        <a:t>cái</a:t>
                      </a:r>
                      <a:r>
                        <a:rPr lang="en-US" sz="2000" baseline="0" dirty="0" smtClean="0"/>
                        <a:t> </a:t>
                      </a:r>
                      <a:r>
                        <a:rPr lang="en-US" sz="2000" baseline="0" dirty="0" err="1" smtClean="0"/>
                        <a:t>cuối</a:t>
                      </a:r>
                      <a:r>
                        <a:rPr lang="en-US" sz="2000" baseline="0" dirty="0" smtClean="0"/>
                        <a:t> </a:t>
                      </a:r>
                      <a:r>
                        <a:rPr lang="en-US" sz="2000" baseline="0" dirty="0" err="1" smtClean="0"/>
                        <a:t>gồm</a:t>
                      </a:r>
                      <a:r>
                        <a:rPr lang="en-US" sz="2000" baseline="0" dirty="0" smtClean="0"/>
                        <a:t> 1 </a:t>
                      </a:r>
                      <a:r>
                        <a:rPr lang="en-US" sz="2000" baseline="0" dirty="0" err="1" smtClean="0"/>
                        <a:t>nguyên</a:t>
                      </a:r>
                      <a:r>
                        <a:rPr lang="en-US" sz="2000" baseline="0" dirty="0" smtClean="0"/>
                        <a:t> </a:t>
                      </a:r>
                      <a:r>
                        <a:rPr lang="en-US" sz="2000" baseline="0" dirty="0" err="1" smtClean="0"/>
                        <a:t>âm</a:t>
                      </a:r>
                      <a:r>
                        <a:rPr lang="en-US" sz="2000" baseline="0" dirty="0" smtClean="0"/>
                        <a:t> </a:t>
                      </a:r>
                      <a:r>
                        <a:rPr lang="en-US" sz="2000" baseline="0" dirty="0" err="1" smtClean="0"/>
                        <a:t>kẹp</a:t>
                      </a:r>
                      <a:r>
                        <a:rPr lang="en-US" sz="2000" baseline="0" dirty="0" smtClean="0"/>
                        <a:t> </a:t>
                      </a:r>
                      <a:r>
                        <a:rPr lang="en-US" sz="2000" baseline="0" dirty="0" err="1" smtClean="0"/>
                        <a:t>giữa</a:t>
                      </a:r>
                      <a:r>
                        <a:rPr lang="en-US" sz="2000" baseline="0" dirty="0" smtClean="0"/>
                        <a:t> 2 </a:t>
                      </a:r>
                      <a:r>
                        <a:rPr lang="en-US" sz="2000" baseline="0" dirty="0" err="1" smtClean="0"/>
                        <a:t>phụ</a:t>
                      </a:r>
                      <a:r>
                        <a:rPr lang="en-US" sz="2000" baseline="0" dirty="0" smtClean="0"/>
                        <a:t> </a:t>
                      </a:r>
                      <a:r>
                        <a:rPr lang="en-US" sz="2000" baseline="0" dirty="0" err="1" smtClean="0"/>
                        <a:t>âm</a:t>
                      </a:r>
                      <a:r>
                        <a:rPr lang="en-US" sz="2000" baseline="0" dirty="0" smtClean="0"/>
                        <a:t> (p-n-p)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2000" baseline="0" dirty="0" smtClean="0">
                        <a:sym typeface="Wingdings" pitchFamily="2" charset="2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aseline="0" dirty="0" err="1" smtClean="0">
                          <a:sym typeface="Wingdings" pitchFamily="2" charset="2"/>
                        </a:rPr>
                        <a:t>gấp</a:t>
                      </a:r>
                      <a:r>
                        <a:rPr lang="en-US" sz="2000" baseline="0" dirty="0" smtClean="0">
                          <a:sym typeface="Wingdings" pitchFamily="2" charset="2"/>
                        </a:rPr>
                        <a:t> </a:t>
                      </a:r>
                      <a:r>
                        <a:rPr lang="en-US" sz="2000" baseline="0" dirty="0" err="1" smtClean="0">
                          <a:sym typeface="Wingdings" pitchFamily="2" charset="2"/>
                        </a:rPr>
                        <a:t>đôi</a:t>
                      </a:r>
                      <a:r>
                        <a:rPr lang="en-US" sz="2000" baseline="0" dirty="0" smtClean="0">
                          <a:sym typeface="Wingdings" pitchFamily="2" charset="2"/>
                        </a:rPr>
                        <a:t> </a:t>
                      </a:r>
                      <a:r>
                        <a:rPr lang="en-US" sz="2000" baseline="0" dirty="0" err="1" smtClean="0">
                          <a:sym typeface="Wingdings" pitchFamily="2" charset="2"/>
                        </a:rPr>
                        <a:t>phụ</a:t>
                      </a:r>
                      <a:r>
                        <a:rPr lang="en-US" sz="2000" baseline="0" dirty="0" smtClean="0">
                          <a:sym typeface="Wingdings" pitchFamily="2" charset="2"/>
                        </a:rPr>
                        <a:t> </a:t>
                      </a:r>
                      <a:r>
                        <a:rPr lang="en-US" sz="2000" baseline="0" dirty="0" err="1" smtClean="0">
                          <a:sym typeface="Wingdings" pitchFamily="2" charset="2"/>
                        </a:rPr>
                        <a:t>âm</a:t>
                      </a:r>
                      <a:r>
                        <a:rPr lang="en-US" sz="2000" baseline="0" dirty="0" smtClean="0">
                          <a:sym typeface="Wingdings" pitchFamily="2" charset="2"/>
                        </a:rPr>
                        <a:t> </a:t>
                      </a:r>
                      <a:r>
                        <a:rPr lang="en-US" sz="2000" baseline="0" dirty="0" err="1" smtClean="0">
                          <a:sym typeface="Wingdings" pitchFamily="2" charset="2"/>
                        </a:rPr>
                        <a:t>cuối</a:t>
                      </a:r>
                      <a:r>
                        <a:rPr lang="en-US" sz="2000" baseline="0" dirty="0" smtClean="0">
                          <a:sym typeface="Wingdings" pitchFamily="2" charset="2"/>
                        </a:rPr>
                        <a:t> </a:t>
                      </a:r>
                      <a:r>
                        <a:rPr lang="en-US" sz="2000" baseline="0" dirty="0" err="1" smtClean="0">
                          <a:sym typeface="Wingdings" pitchFamily="2" charset="2"/>
                        </a:rPr>
                        <a:t>rồi</a:t>
                      </a:r>
                      <a:r>
                        <a:rPr lang="en-US" sz="2000" baseline="0" dirty="0" smtClean="0">
                          <a:sym typeface="Wingdings" pitchFamily="2" charset="2"/>
                        </a:rPr>
                        <a:t> </a:t>
                      </a:r>
                      <a:r>
                        <a:rPr lang="en-US" sz="2000" baseline="0" dirty="0" err="1" smtClean="0">
                          <a:sym typeface="Wingdings" pitchFamily="2" charset="2"/>
                        </a:rPr>
                        <a:t>thêm</a:t>
                      </a:r>
                      <a:r>
                        <a:rPr lang="en-US" sz="2000" baseline="0" dirty="0" smtClean="0">
                          <a:sym typeface="Wingdings" pitchFamily="2" charset="2"/>
                        </a:rPr>
                        <a:t> </a:t>
                      </a:r>
                      <a:r>
                        <a:rPr lang="en-US" sz="2000" baseline="0" dirty="0" err="1" smtClean="0">
                          <a:sym typeface="Wingdings" pitchFamily="2" charset="2"/>
                        </a:rPr>
                        <a:t>ed</a:t>
                      </a:r>
                      <a:endParaRPr lang="vi-VN" sz="2000" dirty="0" smtClean="0"/>
                    </a:p>
                    <a:p>
                      <a:pPr>
                        <a:lnSpc>
                          <a:spcPct val="100000"/>
                        </a:lnSpc>
                      </a:pPr>
                      <a:endParaRPr lang="vi-VN" sz="20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lang="en-US" sz="2000" dirty="0" smtClean="0"/>
                    </a:p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sz="2000" dirty="0" smtClean="0"/>
                        <a:t>Refer</a:t>
                      </a:r>
                      <a:r>
                        <a:rPr lang="en-US" sz="2000" baseline="0" dirty="0" smtClean="0"/>
                        <a:t> </a:t>
                      </a:r>
                      <a:r>
                        <a:rPr lang="en-US" sz="2000" baseline="0" dirty="0" smtClean="0">
                          <a:sym typeface="Wingdings" pitchFamily="2" charset="2"/>
                        </a:rPr>
                        <a:t> refer</a:t>
                      </a:r>
                      <a:r>
                        <a:rPr lang="en-US" sz="2000" b="1" baseline="0" dirty="0" smtClean="0">
                          <a:sym typeface="Wingdings" pitchFamily="2" charset="2"/>
                        </a:rPr>
                        <a:t>red</a:t>
                      </a:r>
                      <a:endParaRPr lang="vi-VN" sz="20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6" name="Rectangle 5"/>
          <p:cNvSpPr/>
          <p:nvPr/>
        </p:nvSpPr>
        <p:spPr>
          <a:xfrm>
            <a:off x="3948753" y="293615"/>
            <a:ext cx="6096000" cy="707886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en-US" sz="4000" cap="all" spc="800" dirty="0" smtClean="0">
                <a:solidFill>
                  <a:srgbClr val="FFFFFF"/>
                </a:solidFill>
                <a:latin typeface="UTM Swiss 721 Black Condensed"/>
                <a:ea typeface="+mj-ea"/>
                <a:cs typeface="+mj-cs"/>
              </a:rPr>
              <a:t>1. Regular verbs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5713593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63774" y="3064613"/>
            <a:ext cx="1828800" cy="951135"/>
          </a:xfrm>
        </p:spPr>
        <p:txBody>
          <a:bodyPr>
            <a:noAutofit/>
          </a:bodyPr>
          <a:lstStyle/>
          <a:p>
            <a:r>
              <a:rPr lang="en-US" sz="4000" dirty="0" smtClean="0"/>
              <a:t>RULES</a:t>
            </a:r>
            <a:endParaRPr lang="en-US" sz="4000" dirty="0"/>
          </a:p>
        </p:txBody>
      </p:sp>
      <p:sp>
        <p:nvSpPr>
          <p:cNvPr id="5" name="Rectangle 4"/>
          <p:cNvSpPr/>
          <p:nvPr/>
        </p:nvSpPr>
        <p:spPr>
          <a:xfrm>
            <a:off x="3948753" y="3468"/>
            <a:ext cx="6096000" cy="1323439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en-US" sz="4000" cap="all" spc="800" dirty="0">
                <a:solidFill>
                  <a:srgbClr val="FFFFFF"/>
                </a:solidFill>
                <a:latin typeface="UTM Swiss 721 Black Condensed"/>
                <a:ea typeface="+mj-ea"/>
                <a:cs typeface="+mj-cs"/>
              </a:rPr>
              <a:t>2</a:t>
            </a:r>
            <a:r>
              <a:rPr lang="en-US" sz="4000" cap="all" spc="800" dirty="0" smtClean="0">
                <a:solidFill>
                  <a:srgbClr val="FFFFFF"/>
                </a:solidFill>
                <a:latin typeface="UTM Swiss 721 Black Condensed"/>
                <a:ea typeface="+mj-ea"/>
                <a:cs typeface="+mj-cs"/>
              </a:rPr>
              <a:t>. Common </a:t>
            </a:r>
            <a:r>
              <a:rPr lang="en-US" sz="4000" cap="all" spc="800" dirty="0">
                <a:solidFill>
                  <a:srgbClr val="FFFFFF"/>
                </a:solidFill>
                <a:latin typeface="UTM Swiss 721 Black Condensed"/>
                <a:ea typeface="+mj-ea"/>
                <a:cs typeface="+mj-cs"/>
              </a:rPr>
              <a:t/>
            </a:r>
            <a:br>
              <a:rPr lang="en-US" sz="4000" cap="all" spc="800" dirty="0">
                <a:solidFill>
                  <a:srgbClr val="FFFFFF"/>
                </a:solidFill>
                <a:latin typeface="UTM Swiss 721 Black Condensed"/>
                <a:ea typeface="+mj-ea"/>
                <a:cs typeface="+mj-cs"/>
              </a:rPr>
            </a:br>
            <a:r>
              <a:rPr lang="en-US" sz="4000" cap="all" spc="800" dirty="0">
                <a:solidFill>
                  <a:srgbClr val="FFFFFF"/>
                </a:solidFill>
                <a:latin typeface="UTM Swiss 721 Black Condensed"/>
                <a:ea typeface="+mj-ea"/>
                <a:cs typeface="+mj-cs"/>
              </a:rPr>
              <a:t>irregular verbs</a:t>
            </a:r>
            <a:endParaRPr lang="en-US" sz="1600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15592427"/>
              </p:ext>
            </p:extLst>
          </p:nvPr>
        </p:nvGraphicFramePr>
        <p:xfrm>
          <a:off x="2919105" y="1398780"/>
          <a:ext cx="4382448" cy="583894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912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9122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43785">
                <a:tc>
                  <a:txBody>
                    <a:bodyPr/>
                    <a:lstStyle/>
                    <a:p>
                      <a:pPr algn="ctr"/>
                      <a:r>
                        <a:rPr lang="en-US" sz="2800" dirty="0" smtClean="0"/>
                        <a:t>Base</a:t>
                      </a:r>
                      <a:r>
                        <a:rPr lang="en-US" sz="2800" baseline="0" dirty="0" smtClean="0"/>
                        <a:t> form</a:t>
                      </a:r>
                      <a:endParaRPr lang="en-US" sz="2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dirty="0" smtClean="0"/>
                        <a:t>Simple Past</a:t>
                      </a:r>
                      <a:endParaRPr lang="en-US" sz="2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43785">
                <a:tc>
                  <a:txBody>
                    <a:bodyPr/>
                    <a:lstStyle/>
                    <a:p>
                      <a:pPr algn="ctr"/>
                      <a:r>
                        <a:rPr lang="en-US" sz="2800" dirty="0" smtClean="0"/>
                        <a:t>Be</a:t>
                      </a:r>
                      <a:endParaRPr lang="en-US" sz="2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dirty="0" smtClean="0"/>
                        <a:t>Was/were</a:t>
                      </a:r>
                      <a:endParaRPr lang="en-US" sz="2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43785">
                <a:tc>
                  <a:txBody>
                    <a:bodyPr/>
                    <a:lstStyle/>
                    <a:p>
                      <a:pPr algn="ctr"/>
                      <a:r>
                        <a:rPr lang="en-US" sz="2800" dirty="0" smtClean="0"/>
                        <a:t>Do</a:t>
                      </a:r>
                      <a:endParaRPr lang="en-US" sz="2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dirty="0" smtClean="0"/>
                        <a:t>Did</a:t>
                      </a:r>
                      <a:endParaRPr lang="en-US" sz="2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43785">
                <a:tc>
                  <a:txBody>
                    <a:bodyPr/>
                    <a:lstStyle/>
                    <a:p>
                      <a:pPr algn="ctr"/>
                      <a:r>
                        <a:rPr lang="en-US" sz="2800" dirty="0" smtClean="0"/>
                        <a:t>Have</a:t>
                      </a:r>
                      <a:endParaRPr lang="en-US" sz="2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dirty="0" smtClean="0"/>
                        <a:t>Had</a:t>
                      </a:r>
                      <a:endParaRPr lang="en-US" sz="2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43785">
                <a:tc>
                  <a:txBody>
                    <a:bodyPr/>
                    <a:lstStyle/>
                    <a:p>
                      <a:pPr algn="ctr"/>
                      <a:r>
                        <a:rPr lang="en-US" sz="2800" dirty="0" smtClean="0"/>
                        <a:t>Make</a:t>
                      </a:r>
                      <a:endParaRPr lang="en-US" sz="2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dirty="0" smtClean="0"/>
                        <a:t>Made</a:t>
                      </a:r>
                      <a:endParaRPr lang="en-US" sz="2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43785">
                <a:tc>
                  <a:txBody>
                    <a:bodyPr/>
                    <a:lstStyle/>
                    <a:p>
                      <a:pPr algn="ctr"/>
                      <a:r>
                        <a:rPr lang="en-US" sz="2800" dirty="0" smtClean="0"/>
                        <a:t>Take</a:t>
                      </a:r>
                      <a:endParaRPr lang="en-US" sz="2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dirty="0" smtClean="0"/>
                        <a:t>Took</a:t>
                      </a:r>
                      <a:endParaRPr lang="en-US" sz="2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43785">
                <a:tc>
                  <a:txBody>
                    <a:bodyPr/>
                    <a:lstStyle/>
                    <a:p>
                      <a:pPr algn="ctr"/>
                      <a:r>
                        <a:rPr lang="en-US" sz="2800" dirty="0" smtClean="0"/>
                        <a:t>Go</a:t>
                      </a:r>
                      <a:endParaRPr lang="en-US" sz="2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dirty="0" smtClean="0"/>
                        <a:t>Went</a:t>
                      </a:r>
                      <a:endParaRPr lang="en-US" sz="2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543785">
                <a:tc>
                  <a:txBody>
                    <a:bodyPr/>
                    <a:lstStyle/>
                    <a:p>
                      <a:pPr algn="ctr"/>
                      <a:r>
                        <a:rPr lang="en-US" sz="2800" dirty="0" smtClean="0"/>
                        <a:t>Get</a:t>
                      </a:r>
                      <a:endParaRPr lang="en-US" sz="2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dirty="0" smtClean="0"/>
                        <a:t>Got</a:t>
                      </a:r>
                      <a:endParaRPr lang="en-US" sz="2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543785">
                <a:tc>
                  <a:txBody>
                    <a:bodyPr/>
                    <a:lstStyle/>
                    <a:p>
                      <a:pPr algn="ctr"/>
                      <a:r>
                        <a:rPr lang="en-US" sz="2800" dirty="0" smtClean="0"/>
                        <a:t>Think</a:t>
                      </a:r>
                      <a:endParaRPr lang="en-US" sz="2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dirty="0" smtClean="0"/>
                        <a:t>Thought</a:t>
                      </a:r>
                      <a:endParaRPr lang="en-US" sz="2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543785">
                <a:tc>
                  <a:txBody>
                    <a:bodyPr/>
                    <a:lstStyle/>
                    <a:p>
                      <a:pPr algn="ctr"/>
                      <a:r>
                        <a:rPr lang="en-US" sz="2800" dirty="0" smtClean="0"/>
                        <a:t>Buy</a:t>
                      </a:r>
                      <a:endParaRPr lang="en-US" sz="2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dirty="0" smtClean="0"/>
                        <a:t>Bought</a:t>
                      </a:r>
                      <a:endParaRPr lang="en-US" sz="2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26968946"/>
              </p:ext>
            </p:extLst>
          </p:nvPr>
        </p:nvGraphicFramePr>
        <p:xfrm>
          <a:off x="7616210" y="1408795"/>
          <a:ext cx="4382448" cy="583894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912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9122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43785">
                <a:tc>
                  <a:txBody>
                    <a:bodyPr/>
                    <a:lstStyle/>
                    <a:p>
                      <a:pPr algn="ctr"/>
                      <a:r>
                        <a:rPr lang="en-US" sz="2800" dirty="0" smtClean="0"/>
                        <a:t>Base</a:t>
                      </a:r>
                      <a:r>
                        <a:rPr lang="en-US" sz="2800" baseline="0" dirty="0" smtClean="0"/>
                        <a:t> form</a:t>
                      </a:r>
                      <a:endParaRPr lang="en-US" sz="2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dirty="0" smtClean="0"/>
                        <a:t>Simple Past</a:t>
                      </a:r>
                      <a:endParaRPr lang="en-US" sz="2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43785">
                <a:tc>
                  <a:txBody>
                    <a:bodyPr/>
                    <a:lstStyle/>
                    <a:p>
                      <a:pPr algn="ctr"/>
                      <a:r>
                        <a:rPr lang="en-US" sz="2800" dirty="0" smtClean="0"/>
                        <a:t>come</a:t>
                      </a:r>
                      <a:endParaRPr lang="en-US" sz="2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dirty="0" smtClean="0"/>
                        <a:t>Came</a:t>
                      </a:r>
                      <a:endParaRPr lang="en-US" sz="2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43785">
                <a:tc>
                  <a:txBody>
                    <a:bodyPr/>
                    <a:lstStyle/>
                    <a:p>
                      <a:pPr algn="ctr"/>
                      <a:r>
                        <a:rPr lang="en-US" sz="2800" dirty="0" smtClean="0"/>
                        <a:t>Become</a:t>
                      </a:r>
                      <a:endParaRPr lang="en-US" sz="2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dirty="0" smtClean="0"/>
                        <a:t>Became</a:t>
                      </a:r>
                      <a:endParaRPr lang="en-US" sz="2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43785">
                <a:tc>
                  <a:txBody>
                    <a:bodyPr/>
                    <a:lstStyle/>
                    <a:p>
                      <a:pPr algn="ctr"/>
                      <a:r>
                        <a:rPr lang="en-US" sz="2800" dirty="0" smtClean="0"/>
                        <a:t>Begin</a:t>
                      </a:r>
                      <a:endParaRPr lang="en-US" sz="2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dirty="0" smtClean="0"/>
                        <a:t>Began</a:t>
                      </a:r>
                      <a:endParaRPr lang="en-US" sz="2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43785">
                <a:tc>
                  <a:txBody>
                    <a:bodyPr/>
                    <a:lstStyle/>
                    <a:p>
                      <a:pPr algn="ctr"/>
                      <a:r>
                        <a:rPr lang="en-US" sz="2800" dirty="0" smtClean="0"/>
                        <a:t>Run</a:t>
                      </a:r>
                      <a:endParaRPr lang="en-US" sz="2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dirty="0" smtClean="0"/>
                        <a:t>ran</a:t>
                      </a:r>
                      <a:endParaRPr lang="en-US" sz="2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43785">
                <a:tc>
                  <a:txBody>
                    <a:bodyPr/>
                    <a:lstStyle/>
                    <a:p>
                      <a:pPr algn="ctr"/>
                      <a:r>
                        <a:rPr lang="en-US" sz="2800" dirty="0" smtClean="0"/>
                        <a:t>Ring</a:t>
                      </a:r>
                      <a:endParaRPr lang="en-US" sz="2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dirty="0" smtClean="0"/>
                        <a:t>Rang</a:t>
                      </a:r>
                      <a:endParaRPr lang="en-US" sz="2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43785">
                <a:tc>
                  <a:txBody>
                    <a:bodyPr/>
                    <a:lstStyle/>
                    <a:p>
                      <a:pPr algn="ctr"/>
                      <a:r>
                        <a:rPr lang="en-US" sz="2800" dirty="0" smtClean="0"/>
                        <a:t>Drink</a:t>
                      </a:r>
                      <a:endParaRPr lang="en-US" sz="2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dirty="0" smtClean="0"/>
                        <a:t>Drank</a:t>
                      </a:r>
                      <a:endParaRPr lang="en-US" sz="2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543785">
                <a:tc>
                  <a:txBody>
                    <a:bodyPr/>
                    <a:lstStyle/>
                    <a:p>
                      <a:pPr algn="ctr"/>
                      <a:r>
                        <a:rPr lang="en-US" sz="2800" dirty="0" smtClean="0"/>
                        <a:t>Say</a:t>
                      </a:r>
                      <a:endParaRPr lang="en-US" sz="2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dirty="0" smtClean="0"/>
                        <a:t>Said</a:t>
                      </a:r>
                      <a:endParaRPr lang="en-US" sz="2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543785">
                <a:tc>
                  <a:txBody>
                    <a:bodyPr/>
                    <a:lstStyle/>
                    <a:p>
                      <a:pPr algn="ctr"/>
                      <a:r>
                        <a:rPr lang="en-US" sz="2800" dirty="0" smtClean="0"/>
                        <a:t>Pay</a:t>
                      </a:r>
                      <a:endParaRPr lang="en-US" sz="2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dirty="0" smtClean="0"/>
                        <a:t>Pai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543785">
                <a:tc>
                  <a:txBody>
                    <a:bodyPr/>
                    <a:lstStyle/>
                    <a:p>
                      <a:pPr algn="ctr"/>
                      <a:r>
                        <a:rPr lang="en-US" sz="2800" dirty="0" smtClean="0"/>
                        <a:t>See</a:t>
                      </a:r>
                      <a:endParaRPr lang="en-US" sz="2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dirty="0" smtClean="0"/>
                        <a:t>saw</a:t>
                      </a:r>
                      <a:endParaRPr lang="en-US" sz="2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45559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23136" y="162233"/>
            <a:ext cx="3092115" cy="737420"/>
          </a:xfrm>
        </p:spPr>
        <p:txBody>
          <a:bodyPr>
            <a:normAutofit/>
          </a:bodyPr>
          <a:lstStyle/>
          <a:p>
            <a:pPr algn="ctr"/>
            <a:r>
              <a:rPr lang="en-US" sz="3600" u="sng" dirty="0" smtClean="0"/>
              <a:t>Usage 1</a:t>
            </a:r>
            <a:endParaRPr lang="en-US" sz="3600" u="sng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683910" y="1085848"/>
            <a:ext cx="4508090" cy="1937571"/>
          </a:xfrm>
        </p:spPr>
        <p:txBody>
          <a:bodyPr>
            <a:normAutofit/>
          </a:bodyPr>
          <a:lstStyle/>
          <a:p>
            <a:pPr algn="just"/>
            <a:r>
              <a:rPr lang="en-US" sz="3200" dirty="0" err="1" smtClean="0"/>
              <a:t>Diễn</a:t>
            </a:r>
            <a:r>
              <a:rPr lang="en-US" sz="3200" dirty="0" smtClean="0"/>
              <a:t> </a:t>
            </a:r>
            <a:r>
              <a:rPr lang="en-US" sz="3200" dirty="0" err="1" smtClean="0"/>
              <a:t>tả</a:t>
            </a:r>
            <a:r>
              <a:rPr lang="en-US" sz="3200" dirty="0" smtClean="0"/>
              <a:t> </a:t>
            </a:r>
            <a:r>
              <a:rPr lang="en-US" sz="3200" dirty="0" err="1" smtClean="0"/>
              <a:t>hành</a:t>
            </a:r>
            <a:r>
              <a:rPr lang="en-US" sz="3200" dirty="0" smtClean="0"/>
              <a:t> </a:t>
            </a:r>
            <a:r>
              <a:rPr lang="en-US" sz="3200" dirty="0" err="1" smtClean="0"/>
              <a:t>động</a:t>
            </a:r>
            <a:r>
              <a:rPr lang="en-US" sz="3200" dirty="0" smtClean="0"/>
              <a:t> </a:t>
            </a:r>
            <a:r>
              <a:rPr lang="en-US" sz="3200" b="1" dirty="0" err="1" smtClean="0">
                <a:solidFill>
                  <a:schemeClr val="accent1"/>
                </a:solidFill>
              </a:rPr>
              <a:t>đã</a:t>
            </a:r>
            <a:r>
              <a:rPr lang="en-US" sz="3200" b="1" dirty="0" smtClean="0">
                <a:solidFill>
                  <a:schemeClr val="accent1"/>
                </a:solidFill>
              </a:rPr>
              <a:t> </a:t>
            </a:r>
            <a:r>
              <a:rPr lang="en-US" sz="3200" b="1" dirty="0" err="1" smtClean="0">
                <a:solidFill>
                  <a:schemeClr val="accent1"/>
                </a:solidFill>
              </a:rPr>
              <a:t>xảy</a:t>
            </a:r>
            <a:r>
              <a:rPr lang="en-US" sz="3200" b="1" dirty="0" smtClean="0">
                <a:solidFill>
                  <a:schemeClr val="accent1"/>
                </a:solidFill>
              </a:rPr>
              <a:t> </a:t>
            </a:r>
            <a:r>
              <a:rPr lang="en-US" sz="3200" b="1" dirty="0" err="1" smtClean="0">
                <a:solidFill>
                  <a:schemeClr val="accent1"/>
                </a:solidFill>
              </a:rPr>
              <a:t>ra</a:t>
            </a:r>
            <a:r>
              <a:rPr lang="en-US" sz="3200" b="1" dirty="0" smtClean="0">
                <a:solidFill>
                  <a:schemeClr val="accent1"/>
                </a:solidFill>
              </a:rPr>
              <a:t> </a:t>
            </a:r>
            <a:r>
              <a:rPr lang="en-US" sz="3200" b="1" dirty="0" err="1" smtClean="0">
                <a:solidFill>
                  <a:schemeClr val="accent1"/>
                </a:solidFill>
              </a:rPr>
              <a:t>và</a:t>
            </a:r>
            <a:r>
              <a:rPr lang="en-US" sz="3200" b="1" dirty="0" smtClean="0">
                <a:solidFill>
                  <a:schemeClr val="accent1"/>
                </a:solidFill>
              </a:rPr>
              <a:t> </a:t>
            </a:r>
            <a:r>
              <a:rPr lang="en-US" sz="3200" b="1" dirty="0" err="1" smtClean="0">
                <a:solidFill>
                  <a:schemeClr val="accent1"/>
                </a:solidFill>
              </a:rPr>
              <a:t>kết</a:t>
            </a:r>
            <a:r>
              <a:rPr lang="en-US" sz="3200" b="1" dirty="0" smtClean="0">
                <a:solidFill>
                  <a:schemeClr val="accent1"/>
                </a:solidFill>
              </a:rPr>
              <a:t> </a:t>
            </a:r>
            <a:r>
              <a:rPr lang="en-US" sz="3200" b="1" dirty="0" err="1" smtClean="0">
                <a:solidFill>
                  <a:schemeClr val="accent1"/>
                </a:solidFill>
              </a:rPr>
              <a:t>thúc</a:t>
            </a:r>
            <a:r>
              <a:rPr lang="en-US" sz="3200" b="1" dirty="0" smtClean="0">
                <a:solidFill>
                  <a:schemeClr val="accent1"/>
                </a:solidFill>
              </a:rPr>
              <a:t> </a:t>
            </a:r>
            <a:r>
              <a:rPr lang="en-US" sz="3200" dirty="0" err="1" smtClean="0">
                <a:solidFill>
                  <a:schemeClr val="bg1"/>
                </a:solidFill>
              </a:rPr>
              <a:t>trong</a:t>
            </a:r>
            <a:r>
              <a:rPr lang="en-US" sz="3200" dirty="0" smtClean="0">
                <a:solidFill>
                  <a:schemeClr val="bg1"/>
                </a:solidFill>
              </a:rPr>
              <a:t> </a:t>
            </a:r>
            <a:r>
              <a:rPr lang="en-US" sz="3200" dirty="0" err="1" smtClean="0">
                <a:solidFill>
                  <a:schemeClr val="bg1"/>
                </a:solidFill>
              </a:rPr>
              <a:t>quá</a:t>
            </a:r>
            <a:r>
              <a:rPr lang="en-US" sz="3200" dirty="0" smtClean="0">
                <a:solidFill>
                  <a:schemeClr val="bg1"/>
                </a:solidFill>
              </a:rPr>
              <a:t> </a:t>
            </a:r>
            <a:r>
              <a:rPr lang="en-US" sz="3200" dirty="0" err="1" smtClean="0">
                <a:solidFill>
                  <a:schemeClr val="bg1"/>
                </a:solidFill>
              </a:rPr>
              <a:t>khứ</a:t>
            </a:r>
            <a:endParaRPr lang="en-US" sz="3200" dirty="0" smtClean="0">
              <a:solidFill>
                <a:schemeClr val="bg1"/>
              </a:solidFill>
            </a:endParaRPr>
          </a:p>
          <a:p>
            <a:pPr algn="just"/>
            <a:endParaRPr lang="en-US" sz="3200" b="1" dirty="0">
              <a:solidFill>
                <a:schemeClr val="bg1"/>
              </a:solidFill>
            </a:endParaRPr>
          </a:p>
        </p:txBody>
      </p:sp>
      <p:sp>
        <p:nvSpPr>
          <p:cNvPr id="7" name="Text Placeholder 3"/>
          <p:cNvSpPr txBox="1">
            <a:spLocks/>
          </p:cNvSpPr>
          <p:nvPr/>
        </p:nvSpPr>
        <p:spPr>
          <a:xfrm>
            <a:off x="7683910" y="3037551"/>
            <a:ext cx="4508090" cy="3820449"/>
          </a:xfrm>
          <a:prstGeom prst="rect">
            <a:avLst/>
          </a:prstGeom>
        </p:spPr>
        <p:txBody>
          <a:bodyPr vert="horz" lIns="91440" tIns="45720" rIns="91440" bIns="45720" rtlCol="0">
            <a:normAutofit fontScale="85000" lnSpcReduction="20000"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1600" kern="120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110000"/>
              </a:lnSpc>
              <a:spcBef>
                <a:spcPts val="700"/>
              </a:spcBef>
              <a:buClr>
                <a:schemeClr val="tx2"/>
              </a:buClr>
              <a:buFont typeface="Gill Sans MT" panose="020B0502020104020203" pitchFamily="34" charset="0"/>
              <a:buNone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110000"/>
              </a:lnSpc>
              <a:spcBef>
                <a:spcPts val="700"/>
              </a:spcBef>
              <a:buClr>
                <a:schemeClr val="tx2"/>
              </a:buClr>
              <a:buFont typeface="Arial" panose="020B0604020202020204" pitchFamily="34" charset="0"/>
              <a:buNone/>
              <a:defRPr sz="12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110000"/>
              </a:lnSpc>
              <a:spcBef>
                <a:spcPts val="700"/>
              </a:spcBef>
              <a:buClr>
                <a:schemeClr val="tx2"/>
              </a:buClr>
              <a:buFont typeface="Gill Sans MT" panose="020B0502020104020203" pitchFamily="34" charset="0"/>
              <a:buNone/>
              <a:defRPr sz="1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110000"/>
              </a:lnSpc>
              <a:spcBef>
                <a:spcPts val="700"/>
              </a:spcBef>
              <a:buClr>
                <a:schemeClr val="tx2"/>
              </a:buClr>
              <a:buFont typeface="Arial" panose="020B0604020202020204" pitchFamily="34" charset="0"/>
              <a:buNone/>
              <a:defRPr sz="1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110000"/>
              </a:lnSpc>
              <a:spcBef>
                <a:spcPts val="700"/>
              </a:spcBef>
              <a:buClr>
                <a:schemeClr val="tx2"/>
              </a:buClr>
              <a:buFont typeface="Gill Sans MT" panose="020B0502020104020203" pitchFamily="34" charset="0"/>
              <a:buNone/>
              <a:defRPr sz="1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110000"/>
              </a:lnSpc>
              <a:spcBef>
                <a:spcPts val="700"/>
              </a:spcBef>
              <a:buClr>
                <a:schemeClr val="tx2"/>
              </a:buClr>
              <a:buFont typeface="Arial" panose="020B0604020202020204" pitchFamily="34" charset="0"/>
              <a:buNone/>
              <a:defRPr sz="1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110000"/>
              </a:lnSpc>
              <a:spcBef>
                <a:spcPts val="700"/>
              </a:spcBef>
              <a:buClr>
                <a:schemeClr val="tx2"/>
              </a:buClr>
              <a:buFont typeface="Gill Sans MT" panose="020B0502020104020203" pitchFamily="34" charset="0"/>
              <a:buNone/>
              <a:defRPr sz="100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110000"/>
              </a:lnSpc>
              <a:spcBef>
                <a:spcPts val="700"/>
              </a:spcBef>
              <a:buClr>
                <a:schemeClr val="tx2"/>
              </a:buClr>
              <a:buFont typeface="Arial" panose="020B0604020202020204" pitchFamily="34" charset="0"/>
              <a:buNone/>
              <a:defRPr sz="100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en-US" sz="3200" b="1" u="sng" dirty="0" smtClean="0"/>
              <a:t>Signals:</a:t>
            </a:r>
          </a:p>
          <a:p>
            <a:pPr algn="just"/>
            <a:r>
              <a:rPr lang="en-US" sz="3200" dirty="0" smtClean="0">
                <a:solidFill>
                  <a:schemeClr val="bg1"/>
                </a:solidFill>
              </a:rPr>
              <a:t>- Yesterday</a:t>
            </a:r>
          </a:p>
          <a:p>
            <a:pPr algn="just"/>
            <a:r>
              <a:rPr lang="en-US" sz="3200" dirty="0" smtClean="0">
                <a:solidFill>
                  <a:schemeClr val="bg1"/>
                </a:solidFill>
              </a:rPr>
              <a:t>- Last + time</a:t>
            </a:r>
          </a:p>
          <a:p>
            <a:pPr algn="just"/>
            <a:r>
              <a:rPr lang="en-US" sz="3200" dirty="0" smtClean="0">
                <a:solidFill>
                  <a:schemeClr val="bg1"/>
                </a:solidFill>
              </a:rPr>
              <a:t>- Time + ago</a:t>
            </a:r>
          </a:p>
          <a:p>
            <a:pPr algn="just"/>
            <a:r>
              <a:rPr lang="en-US" sz="3200" dirty="0" smtClean="0">
                <a:solidFill>
                  <a:schemeClr val="bg1"/>
                </a:solidFill>
              </a:rPr>
              <a:t>- in/on/at + time in the past</a:t>
            </a:r>
          </a:p>
          <a:p>
            <a:pPr algn="just"/>
            <a:r>
              <a:rPr lang="en-US" sz="3200" dirty="0" smtClean="0">
                <a:solidFill>
                  <a:schemeClr val="bg1"/>
                </a:solidFill>
              </a:rPr>
              <a:t>- When + </a:t>
            </a:r>
            <a:r>
              <a:rPr lang="en-US" sz="3200" dirty="0" err="1" smtClean="0">
                <a:solidFill>
                  <a:schemeClr val="bg1"/>
                </a:solidFill>
              </a:rPr>
              <a:t>mệnh</a:t>
            </a:r>
            <a:r>
              <a:rPr lang="en-US" sz="3200" dirty="0" smtClean="0">
                <a:solidFill>
                  <a:schemeClr val="bg1"/>
                </a:solidFill>
              </a:rPr>
              <a:t> </a:t>
            </a:r>
            <a:r>
              <a:rPr lang="en-US" sz="3200" dirty="0" err="1" smtClean="0">
                <a:solidFill>
                  <a:schemeClr val="bg1"/>
                </a:solidFill>
              </a:rPr>
              <a:t>đề</a:t>
            </a:r>
            <a:r>
              <a:rPr lang="en-US" sz="3200" dirty="0" smtClean="0">
                <a:solidFill>
                  <a:schemeClr val="bg1"/>
                </a:solidFill>
              </a:rPr>
              <a:t> (</a:t>
            </a:r>
            <a:r>
              <a:rPr lang="en-US" sz="3200" dirty="0" err="1" smtClean="0">
                <a:solidFill>
                  <a:schemeClr val="bg1"/>
                </a:solidFill>
              </a:rPr>
              <a:t>thời</a:t>
            </a:r>
            <a:r>
              <a:rPr lang="en-US" sz="3200" dirty="0" smtClean="0">
                <a:solidFill>
                  <a:schemeClr val="bg1"/>
                </a:solidFill>
              </a:rPr>
              <a:t> </a:t>
            </a:r>
            <a:r>
              <a:rPr lang="en-US" sz="3200" dirty="0" err="1" smtClean="0">
                <a:solidFill>
                  <a:schemeClr val="bg1"/>
                </a:solidFill>
              </a:rPr>
              <a:t>điểm</a:t>
            </a:r>
            <a:r>
              <a:rPr lang="en-US" sz="3200" dirty="0" smtClean="0">
                <a:solidFill>
                  <a:schemeClr val="bg1"/>
                </a:solidFill>
              </a:rPr>
              <a:t> </a:t>
            </a:r>
            <a:r>
              <a:rPr lang="en-US" sz="3200" dirty="0" err="1" smtClean="0">
                <a:solidFill>
                  <a:schemeClr val="bg1"/>
                </a:solidFill>
              </a:rPr>
              <a:t>trong</a:t>
            </a:r>
            <a:r>
              <a:rPr lang="en-US" sz="3200" dirty="0" smtClean="0">
                <a:solidFill>
                  <a:schemeClr val="bg1"/>
                </a:solidFill>
              </a:rPr>
              <a:t> </a:t>
            </a:r>
            <a:r>
              <a:rPr lang="en-US" sz="3200" dirty="0" err="1" smtClean="0">
                <a:solidFill>
                  <a:schemeClr val="bg1"/>
                </a:solidFill>
              </a:rPr>
              <a:t>quá</a:t>
            </a:r>
            <a:r>
              <a:rPr lang="en-US" sz="3200" dirty="0" smtClean="0">
                <a:solidFill>
                  <a:schemeClr val="bg1"/>
                </a:solidFill>
              </a:rPr>
              <a:t> </a:t>
            </a:r>
            <a:r>
              <a:rPr lang="en-US" sz="3200" dirty="0" err="1" smtClean="0">
                <a:solidFill>
                  <a:schemeClr val="bg1"/>
                </a:solidFill>
              </a:rPr>
              <a:t>khứ</a:t>
            </a:r>
            <a:r>
              <a:rPr lang="en-US" sz="3200" dirty="0" smtClean="0">
                <a:solidFill>
                  <a:schemeClr val="bg1"/>
                </a:solidFill>
              </a:rPr>
              <a:t>)</a:t>
            </a:r>
            <a:endParaRPr lang="en-US" sz="3200" dirty="0">
              <a:solidFill>
                <a:schemeClr val="bg1"/>
              </a:solidFill>
            </a:endParaRPr>
          </a:p>
        </p:txBody>
      </p:sp>
      <p:pic>
        <p:nvPicPr>
          <p:cNvPr id="2969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5842" y="697599"/>
            <a:ext cx="7046654" cy="36653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Rectangle 2"/>
          <p:cNvSpPr/>
          <p:nvPr/>
        </p:nvSpPr>
        <p:spPr>
          <a:xfrm>
            <a:off x="4858603" y="3835021"/>
            <a:ext cx="2483893" cy="4094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8"/>
          <p:cNvSpPr txBox="1"/>
          <p:nvPr/>
        </p:nvSpPr>
        <p:spPr>
          <a:xfrm>
            <a:off x="442453" y="4534799"/>
            <a:ext cx="7079224" cy="15388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2800" dirty="0" smtClean="0">
                <a:solidFill>
                  <a:srgbClr val="000000"/>
                </a:solidFill>
              </a:rPr>
              <a:t>E.g. I </a:t>
            </a:r>
            <a:r>
              <a:rPr lang="en-US" sz="2800" b="1" dirty="0" smtClean="0">
                <a:solidFill>
                  <a:srgbClr val="000000"/>
                </a:solidFill>
              </a:rPr>
              <a:t>went</a:t>
            </a:r>
            <a:r>
              <a:rPr lang="en-US" sz="2800" dirty="0" smtClean="0">
                <a:solidFill>
                  <a:srgbClr val="000000"/>
                </a:solidFill>
              </a:rPr>
              <a:t> to bed at 10 last night</a:t>
            </a:r>
          </a:p>
          <a:p>
            <a:pPr>
              <a:spcAft>
                <a:spcPts val="600"/>
              </a:spcAft>
            </a:pPr>
            <a:r>
              <a:rPr lang="en-US" sz="2800" dirty="0" smtClean="0">
                <a:solidFill>
                  <a:srgbClr val="000000"/>
                </a:solidFill>
              </a:rPr>
              <a:t>I </a:t>
            </a:r>
            <a:r>
              <a:rPr lang="en-US" sz="2800" b="1" dirty="0" smtClean="0">
                <a:solidFill>
                  <a:srgbClr val="000000"/>
                </a:solidFill>
              </a:rPr>
              <a:t>traveled</a:t>
            </a:r>
            <a:r>
              <a:rPr lang="en-US" sz="2800" dirty="0" smtClean="0">
                <a:solidFill>
                  <a:srgbClr val="000000"/>
                </a:solidFill>
              </a:rPr>
              <a:t> to Paris 2 years ago</a:t>
            </a:r>
          </a:p>
          <a:p>
            <a:pPr>
              <a:spcAft>
                <a:spcPts val="600"/>
              </a:spcAft>
            </a:pPr>
            <a:r>
              <a:rPr lang="en-US" sz="2800" dirty="0" smtClean="0">
                <a:solidFill>
                  <a:srgbClr val="000000"/>
                </a:solidFill>
              </a:rPr>
              <a:t>She </a:t>
            </a:r>
            <a:r>
              <a:rPr lang="en-US" sz="2800" b="1" dirty="0" smtClean="0">
                <a:solidFill>
                  <a:srgbClr val="000000"/>
                </a:solidFill>
              </a:rPr>
              <a:t>bought</a:t>
            </a:r>
            <a:r>
              <a:rPr lang="en-US" sz="2800" dirty="0" smtClean="0">
                <a:solidFill>
                  <a:srgbClr val="000000"/>
                </a:solidFill>
              </a:rPr>
              <a:t> a car in 1998</a:t>
            </a:r>
            <a:endParaRPr lang="en-US" sz="28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06770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  <p:bldP spid="7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23136" y="162233"/>
            <a:ext cx="3092115" cy="737420"/>
          </a:xfrm>
        </p:spPr>
        <p:txBody>
          <a:bodyPr>
            <a:normAutofit/>
          </a:bodyPr>
          <a:lstStyle/>
          <a:p>
            <a:pPr algn="ctr"/>
            <a:r>
              <a:rPr lang="en-US" sz="3600" u="sng" dirty="0" smtClean="0"/>
              <a:t>Usage 2</a:t>
            </a:r>
            <a:endParaRPr lang="en-US" sz="3600" u="sng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683910" y="1085848"/>
            <a:ext cx="4508090" cy="1937571"/>
          </a:xfrm>
        </p:spPr>
        <p:txBody>
          <a:bodyPr>
            <a:normAutofit/>
          </a:bodyPr>
          <a:lstStyle/>
          <a:p>
            <a:pPr algn="just"/>
            <a:r>
              <a:rPr lang="en-US" sz="3200" dirty="0" err="1" smtClean="0"/>
              <a:t>Diễn</a:t>
            </a:r>
            <a:r>
              <a:rPr lang="en-US" sz="3200" dirty="0" smtClean="0"/>
              <a:t> </a:t>
            </a:r>
            <a:r>
              <a:rPr lang="en-US" sz="3200" dirty="0" err="1" smtClean="0"/>
              <a:t>tả</a:t>
            </a:r>
            <a:r>
              <a:rPr lang="en-US" sz="3200" dirty="0" smtClean="0"/>
              <a:t> 1 </a:t>
            </a:r>
            <a:r>
              <a:rPr lang="en-US" sz="3200" b="1" dirty="0" err="1" smtClean="0">
                <a:solidFill>
                  <a:schemeClr val="accent1"/>
                </a:solidFill>
              </a:rPr>
              <a:t>thói</a:t>
            </a:r>
            <a:r>
              <a:rPr lang="en-US" sz="3200" b="1" dirty="0" smtClean="0">
                <a:solidFill>
                  <a:schemeClr val="accent1"/>
                </a:solidFill>
              </a:rPr>
              <a:t> </a:t>
            </a:r>
            <a:r>
              <a:rPr lang="en-US" sz="3200" b="1" dirty="0" err="1" smtClean="0">
                <a:solidFill>
                  <a:schemeClr val="accent1"/>
                </a:solidFill>
              </a:rPr>
              <a:t>quen</a:t>
            </a:r>
            <a:r>
              <a:rPr lang="en-US" sz="3200" b="1" dirty="0" smtClean="0">
                <a:solidFill>
                  <a:schemeClr val="accent1"/>
                </a:solidFill>
              </a:rPr>
              <a:t> </a:t>
            </a:r>
            <a:r>
              <a:rPr lang="en-US" sz="3200" dirty="0" err="1" smtClean="0"/>
              <a:t>trong</a:t>
            </a:r>
            <a:r>
              <a:rPr lang="en-US" sz="3200" dirty="0" smtClean="0"/>
              <a:t> </a:t>
            </a:r>
            <a:r>
              <a:rPr lang="en-US" sz="3200" b="1" dirty="0" err="1" smtClean="0">
                <a:solidFill>
                  <a:schemeClr val="accent1"/>
                </a:solidFill>
              </a:rPr>
              <a:t>quá</a:t>
            </a:r>
            <a:r>
              <a:rPr lang="en-US" sz="3200" b="1" dirty="0" smtClean="0">
                <a:solidFill>
                  <a:schemeClr val="accent1"/>
                </a:solidFill>
              </a:rPr>
              <a:t> </a:t>
            </a:r>
            <a:r>
              <a:rPr lang="en-US" sz="3200" b="1" dirty="0" err="1" smtClean="0">
                <a:solidFill>
                  <a:schemeClr val="accent1"/>
                </a:solidFill>
              </a:rPr>
              <a:t>khứ</a:t>
            </a:r>
            <a:r>
              <a:rPr lang="en-US" sz="3200" b="1" dirty="0" smtClean="0">
                <a:solidFill>
                  <a:schemeClr val="accent1"/>
                </a:solidFill>
              </a:rPr>
              <a:t> </a:t>
            </a:r>
            <a:r>
              <a:rPr lang="en-US" sz="3200" dirty="0" err="1" smtClean="0">
                <a:solidFill>
                  <a:schemeClr val="bg1"/>
                </a:solidFill>
              </a:rPr>
              <a:t>và</a:t>
            </a:r>
            <a:r>
              <a:rPr lang="en-US" sz="3200" dirty="0" smtClean="0">
                <a:solidFill>
                  <a:schemeClr val="bg1"/>
                </a:solidFill>
              </a:rPr>
              <a:t> </a:t>
            </a:r>
            <a:r>
              <a:rPr lang="en-US" sz="3200" b="1" dirty="0" err="1" smtClean="0">
                <a:solidFill>
                  <a:schemeClr val="accent1"/>
                </a:solidFill>
              </a:rPr>
              <a:t>đã</a:t>
            </a:r>
            <a:r>
              <a:rPr lang="en-US" sz="3200" b="1" dirty="0" smtClean="0">
                <a:solidFill>
                  <a:schemeClr val="accent1"/>
                </a:solidFill>
              </a:rPr>
              <a:t> </a:t>
            </a:r>
            <a:r>
              <a:rPr lang="en-US" sz="3200" b="1" dirty="0" err="1" smtClean="0">
                <a:solidFill>
                  <a:schemeClr val="accent1"/>
                </a:solidFill>
              </a:rPr>
              <a:t>chấm</a:t>
            </a:r>
            <a:r>
              <a:rPr lang="en-US" sz="3200" b="1" dirty="0" smtClean="0">
                <a:solidFill>
                  <a:schemeClr val="accent1"/>
                </a:solidFill>
              </a:rPr>
              <a:t> </a:t>
            </a:r>
            <a:r>
              <a:rPr lang="en-US" sz="3200" b="1" dirty="0" err="1" smtClean="0">
                <a:solidFill>
                  <a:schemeClr val="accent1"/>
                </a:solidFill>
              </a:rPr>
              <a:t>dứt</a:t>
            </a:r>
            <a:r>
              <a:rPr lang="en-US" sz="3200" b="1" dirty="0" smtClean="0">
                <a:solidFill>
                  <a:schemeClr val="accent1"/>
                </a:solidFill>
              </a:rPr>
              <a:t> ở </a:t>
            </a:r>
            <a:r>
              <a:rPr lang="en-US" sz="3200" b="1" dirty="0" err="1" smtClean="0">
                <a:solidFill>
                  <a:schemeClr val="accent1"/>
                </a:solidFill>
              </a:rPr>
              <a:t>hiện</a:t>
            </a:r>
            <a:r>
              <a:rPr lang="en-US" sz="3200" b="1" dirty="0" smtClean="0">
                <a:solidFill>
                  <a:schemeClr val="accent1"/>
                </a:solidFill>
              </a:rPr>
              <a:t> </a:t>
            </a:r>
            <a:r>
              <a:rPr lang="en-US" sz="3200" b="1" dirty="0" err="1" smtClean="0">
                <a:solidFill>
                  <a:schemeClr val="accent1"/>
                </a:solidFill>
              </a:rPr>
              <a:t>tại</a:t>
            </a:r>
            <a:endParaRPr lang="en-US" sz="3200" b="1" dirty="0" smtClean="0">
              <a:solidFill>
                <a:schemeClr val="accent1"/>
              </a:solidFill>
            </a:endParaRPr>
          </a:p>
          <a:p>
            <a:pPr algn="just"/>
            <a:endParaRPr lang="en-US" sz="3200" b="1" dirty="0">
              <a:solidFill>
                <a:schemeClr val="bg1"/>
              </a:solidFill>
            </a:endParaRPr>
          </a:p>
        </p:txBody>
      </p:sp>
      <p:sp>
        <p:nvSpPr>
          <p:cNvPr id="7" name="Text Placeholder 3"/>
          <p:cNvSpPr txBox="1">
            <a:spLocks/>
          </p:cNvSpPr>
          <p:nvPr/>
        </p:nvSpPr>
        <p:spPr>
          <a:xfrm>
            <a:off x="7683910" y="3037551"/>
            <a:ext cx="4508090" cy="275856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1600" kern="120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110000"/>
              </a:lnSpc>
              <a:spcBef>
                <a:spcPts val="700"/>
              </a:spcBef>
              <a:buClr>
                <a:schemeClr val="tx2"/>
              </a:buClr>
              <a:buFont typeface="Gill Sans MT" panose="020B0502020104020203" pitchFamily="34" charset="0"/>
              <a:buNone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110000"/>
              </a:lnSpc>
              <a:spcBef>
                <a:spcPts val="700"/>
              </a:spcBef>
              <a:buClr>
                <a:schemeClr val="tx2"/>
              </a:buClr>
              <a:buFont typeface="Arial" panose="020B0604020202020204" pitchFamily="34" charset="0"/>
              <a:buNone/>
              <a:defRPr sz="12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110000"/>
              </a:lnSpc>
              <a:spcBef>
                <a:spcPts val="700"/>
              </a:spcBef>
              <a:buClr>
                <a:schemeClr val="tx2"/>
              </a:buClr>
              <a:buFont typeface="Gill Sans MT" panose="020B0502020104020203" pitchFamily="34" charset="0"/>
              <a:buNone/>
              <a:defRPr sz="1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110000"/>
              </a:lnSpc>
              <a:spcBef>
                <a:spcPts val="700"/>
              </a:spcBef>
              <a:buClr>
                <a:schemeClr val="tx2"/>
              </a:buClr>
              <a:buFont typeface="Arial" panose="020B0604020202020204" pitchFamily="34" charset="0"/>
              <a:buNone/>
              <a:defRPr sz="1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110000"/>
              </a:lnSpc>
              <a:spcBef>
                <a:spcPts val="700"/>
              </a:spcBef>
              <a:buClr>
                <a:schemeClr val="tx2"/>
              </a:buClr>
              <a:buFont typeface="Gill Sans MT" panose="020B0502020104020203" pitchFamily="34" charset="0"/>
              <a:buNone/>
              <a:defRPr sz="1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110000"/>
              </a:lnSpc>
              <a:spcBef>
                <a:spcPts val="700"/>
              </a:spcBef>
              <a:buClr>
                <a:schemeClr val="tx2"/>
              </a:buClr>
              <a:buFont typeface="Arial" panose="020B0604020202020204" pitchFamily="34" charset="0"/>
              <a:buNone/>
              <a:defRPr sz="1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110000"/>
              </a:lnSpc>
              <a:spcBef>
                <a:spcPts val="700"/>
              </a:spcBef>
              <a:buClr>
                <a:schemeClr val="tx2"/>
              </a:buClr>
              <a:buFont typeface="Gill Sans MT" panose="020B0502020104020203" pitchFamily="34" charset="0"/>
              <a:buNone/>
              <a:defRPr sz="100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110000"/>
              </a:lnSpc>
              <a:spcBef>
                <a:spcPts val="700"/>
              </a:spcBef>
              <a:buClr>
                <a:schemeClr val="tx2"/>
              </a:buClr>
              <a:buFont typeface="Arial" panose="020B0604020202020204" pitchFamily="34" charset="0"/>
              <a:buNone/>
              <a:defRPr sz="100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en-US" sz="3200" b="1" u="sng" dirty="0" smtClean="0"/>
              <a:t>Signals:</a:t>
            </a:r>
          </a:p>
          <a:p>
            <a:pPr algn="just"/>
            <a:r>
              <a:rPr lang="en-US" sz="3200" dirty="0" smtClean="0">
                <a:solidFill>
                  <a:schemeClr val="bg1"/>
                </a:solidFill>
              </a:rPr>
              <a:t>- Adverbs of frequency</a:t>
            </a:r>
          </a:p>
          <a:p>
            <a:pPr algn="just"/>
            <a:r>
              <a:rPr lang="en-US" sz="3200" dirty="0">
                <a:solidFill>
                  <a:schemeClr val="bg1"/>
                </a:solidFill>
              </a:rPr>
              <a:t>+</a:t>
            </a:r>
            <a:r>
              <a:rPr lang="en-US" sz="3200" dirty="0" smtClean="0">
                <a:solidFill>
                  <a:schemeClr val="bg1"/>
                </a:solidFill>
              </a:rPr>
              <a:t> When</a:t>
            </a:r>
          </a:p>
          <a:p>
            <a:pPr algn="just"/>
            <a:endParaRPr lang="en-US" sz="3200" b="1" dirty="0">
              <a:solidFill>
                <a:schemeClr val="bg1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65031" y="781665"/>
            <a:ext cx="7241457" cy="10310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2800" dirty="0" smtClean="0">
                <a:solidFill>
                  <a:srgbClr val="000000"/>
                </a:solidFill>
              </a:rPr>
              <a:t>E.g. </a:t>
            </a:r>
            <a:r>
              <a:rPr lang="en-US" sz="2800" dirty="0">
                <a:solidFill>
                  <a:srgbClr val="000000"/>
                </a:solidFill>
              </a:rPr>
              <a:t>I always </a:t>
            </a:r>
            <a:r>
              <a:rPr lang="en-US" sz="2800" b="1" dirty="0">
                <a:solidFill>
                  <a:srgbClr val="000000"/>
                </a:solidFill>
              </a:rPr>
              <a:t>played</a:t>
            </a:r>
            <a:r>
              <a:rPr lang="en-US" sz="2800" dirty="0">
                <a:solidFill>
                  <a:srgbClr val="000000"/>
                </a:solidFill>
              </a:rPr>
              <a:t> basketball when I was a child.</a:t>
            </a:r>
          </a:p>
          <a:p>
            <a:pPr>
              <a:spcAft>
                <a:spcPts val="600"/>
              </a:spcAft>
            </a:pPr>
            <a:r>
              <a:rPr lang="en-US" sz="2800" dirty="0">
                <a:solidFill>
                  <a:srgbClr val="000000"/>
                </a:solidFill>
              </a:rPr>
              <a:t>He often</a:t>
            </a:r>
            <a:r>
              <a:rPr lang="en-US" sz="2800" b="1" dirty="0">
                <a:solidFill>
                  <a:srgbClr val="000000"/>
                </a:solidFill>
              </a:rPr>
              <a:t> played </a:t>
            </a:r>
            <a:r>
              <a:rPr lang="en-US" sz="2800" dirty="0">
                <a:solidFill>
                  <a:srgbClr val="000000"/>
                </a:solidFill>
              </a:rPr>
              <a:t>the </a:t>
            </a:r>
            <a:r>
              <a:rPr lang="en-US" sz="2800" dirty="0" smtClean="0">
                <a:solidFill>
                  <a:srgbClr val="000000"/>
                </a:solidFill>
              </a:rPr>
              <a:t>guitar</a:t>
            </a:r>
            <a:r>
              <a:rPr lang="en-US" sz="2800" dirty="0">
                <a:solidFill>
                  <a:srgbClr val="000000"/>
                </a:solidFill>
              </a:rPr>
              <a:t> </a:t>
            </a:r>
            <a:r>
              <a:rPr lang="en-US" sz="2800" dirty="0" smtClean="0">
                <a:solidFill>
                  <a:srgbClr val="000000"/>
                </a:solidFill>
              </a:rPr>
              <a:t>when he was 18.</a:t>
            </a:r>
            <a:endParaRPr lang="en-US" sz="2800" dirty="0">
              <a:solidFill>
                <a:srgbClr val="000000"/>
              </a:solidFill>
            </a:endParaRPr>
          </a:p>
        </p:txBody>
      </p:sp>
      <p:pic>
        <p:nvPicPr>
          <p:cNvPr id="30722" name="Picture 2" descr="Playing Basketball Kids, Clipart Basketball, Basketball Vector, Kids Vector  PNG Transparent Clipart Image and PSD File for Free Download | Kids vector,  Suprise birthday party, Basketball"/>
          <p:cNvPicPr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20000" contrast="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33411" y="2060812"/>
            <a:ext cx="3929546" cy="47940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985799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  <p:bldP spid="7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23136" y="162233"/>
            <a:ext cx="3092115" cy="737420"/>
          </a:xfrm>
        </p:spPr>
        <p:txBody>
          <a:bodyPr>
            <a:normAutofit/>
          </a:bodyPr>
          <a:lstStyle/>
          <a:p>
            <a:pPr algn="ctr"/>
            <a:r>
              <a:rPr lang="en-US" sz="3600" u="sng" dirty="0" smtClean="0"/>
              <a:t>Usage 3</a:t>
            </a:r>
            <a:endParaRPr lang="en-US" sz="3600" u="sng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683910" y="1085848"/>
            <a:ext cx="4508090" cy="1937571"/>
          </a:xfrm>
        </p:spPr>
        <p:txBody>
          <a:bodyPr>
            <a:normAutofit/>
          </a:bodyPr>
          <a:lstStyle/>
          <a:p>
            <a:pPr algn="just"/>
            <a:r>
              <a:rPr lang="en-US" sz="3200" dirty="0" err="1" smtClean="0"/>
              <a:t>Diễn</a:t>
            </a:r>
            <a:r>
              <a:rPr lang="en-US" sz="3200" dirty="0" smtClean="0"/>
              <a:t> </a:t>
            </a:r>
            <a:r>
              <a:rPr lang="en-US" sz="3200" dirty="0" err="1" smtClean="0"/>
              <a:t>tả</a:t>
            </a:r>
            <a:r>
              <a:rPr lang="en-US" sz="3200" dirty="0" smtClean="0"/>
              <a:t> 1 </a:t>
            </a:r>
            <a:r>
              <a:rPr lang="en-US" sz="3200" b="1" dirty="0" err="1" smtClean="0">
                <a:solidFill>
                  <a:schemeClr val="accent1"/>
                </a:solidFill>
              </a:rPr>
              <a:t>chuỗi</a:t>
            </a:r>
            <a:r>
              <a:rPr lang="en-US" sz="3200" dirty="0" smtClean="0"/>
              <a:t> </a:t>
            </a:r>
            <a:r>
              <a:rPr lang="en-US" sz="3200" dirty="0" err="1" smtClean="0"/>
              <a:t>các</a:t>
            </a:r>
            <a:r>
              <a:rPr lang="en-US" sz="3200" dirty="0" smtClean="0"/>
              <a:t> </a:t>
            </a:r>
            <a:r>
              <a:rPr lang="en-US" sz="3200" b="1" dirty="0" err="1" smtClean="0">
                <a:solidFill>
                  <a:schemeClr val="accent1"/>
                </a:solidFill>
              </a:rPr>
              <a:t>hành</a:t>
            </a:r>
            <a:r>
              <a:rPr lang="en-US" sz="3200" dirty="0" smtClean="0"/>
              <a:t> </a:t>
            </a:r>
            <a:r>
              <a:rPr lang="en-US" sz="3200" b="1" dirty="0" err="1" smtClean="0">
                <a:solidFill>
                  <a:schemeClr val="accent1"/>
                </a:solidFill>
              </a:rPr>
              <a:t>động</a:t>
            </a:r>
            <a:r>
              <a:rPr lang="en-US" sz="3200" dirty="0" smtClean="0"/>
              <a:t> </a:t>
            </a:r>
            <a:r>
              <a:rPr lang="en-US" sz="3200" dirty="0" err="1" smtClean="0"/>
              <a:t>xảy</a:t>
            </a:r>
            <a:r>
              <a:rPr lang="en-US" sz="3200" dirty="0" smtClean="0"/>
              <a:t> </a:t>
            </a:r>
            <a:r>
              <a:rPr lang="en-US" sz="3200" dirty="0" err="1" smtClean="0"/>
              <a:t>ra</a:t>
            </a:r>
            <a:r>
              <a:rPr lang="en-US" sz="3200" dirty="0" smtClean="0"/>
              <a:t> </a:t>
            </a:r>
            <a:r>
              <a:rPr lang="en-US" sz="3200" b="1" dirty="0" err="1" smtClean="0">
                <a:solidFill>
                  <a:schemeClr val="accent1"/>
                </a:solidFill>
              </a:rPr>
              <a:t>liên</a:t>
            </a:r>
            <a:r>
              <a:rPr lang="en-US" sz="3200" b="1" dirty="0" smtClean="0">
                <a:solidFill>
                  <a:schemeClr val="accent1"/>
                </a:solidFill>
              </a:rPr>
              <a:t> </a:t>
            </a:r>
            <a:r>
              <a:rPr lang="en-US" sz="3200" b="1" dirty="0" err="1" smtClean="0">
                <a:solidFill>
                  <a:schemeClr val="accent1"/>
                </a:solidFill>
              </a:rPr>
              <a:t>tiếp</a:t>
            </a:r>
            <a:r>
              <a:rPr lang="en-US" sz="3200" b="1" dirty="0" smtClean="0">
                <a:solidFill>
                  <a:schemeClr val="accent1"/>
                </a:solidFill>
              </a:rPr>
              <a:t> </a:t>
            </a:r>
            <a:r>
              <a:rPr lang="en-US" sz="3200" dirty="0" err="1" smtClean="0"/>
              <a:t>trong</a:t>
            </a:r>
            <a:r>
              <a:rPr lang="en-US" sz="3200" dirty="0" smtClean="0"/>
              <a:t> </a:t>
            </a:r>
            <a:r>
              <a:rPr lang="en-US" sz="3200" dirty="0" err="1" smtClean="0"/>
              <a:t>quá</a:t>
            </a:r>
            <a:r>
              <a:rPr lang="en-US" sz="3200" dirty="0" smtClean="0"/>
              <a:t> </a:t>
            </a:r>
            <a:r>
              <a:rPr lang="en-US" sz="3200" dirty="0" err="1" smtClean="0"/>
              <a:t>khứ</a:t>
            </a:r>
            <a:endParaRPr lang="en-US" sz="3200" b="1" dirty="0" smtClean="0">
              <a:solidFill>
                <a:schemeClr val="accent1"/>
              </a:solidFill>
            </a:endParaRPr>
          </a:p>
          <a:p>
            <a:pPr algn="just"/>
            <a:endParaRPr lang="en-US" sz="3200" b="1" dirty="0">
              <a:solidFill>
                <a:schemeClr val="bg1"/>
              </a:solidFill>
            </a:endParaRPr>
          </a:p>
        </p:txBody>
      </p:sp>
      <p:sp>
        <p:nvSpPr>
          <p:cNvPr id="7" name="Text Placeholder 3"/>
          <p:cNvSpPr txBox="1">
            <a:spLocks/>
          </p:cNvSpPr>
          <p:nvPr/>
        </p:nvSpPr>
        <p:spPr>
          <a:xfrm>
            <a:off x="7683910" y="3037551"/>
            <a:ext cx="4508090" cy="284705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1600" kern="120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110000"/>
              </a:lnSpc>
              <a:spcBef>
                <a:spcPts val="700"/>
              </a:spcBef>
              <a:buClr>
                <a:schemeClr val="tx2"/>
              </a:buClr>
              <a:buFont typeface="Gill Sans MT" panose="020B0502020104020203" pitchFamily="34" charset="0"/>
              <a:buNone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110000"/>
              </a:lnSpc>
              <a:spcBef>
                <a:spcPts val="700"/>
              </a:spcBef>
              <a:buClr>
                <a:schemeClr val="tx2"/>
              </a:buClr>
              <a:buFont typeface="Arial" panose="020B0604020202020204" pitchFamily="34" charset="0"/>
              <a:buNone/>
              <a:defRPr sz="12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110000"/>
              </a:lnSpc>
              <a:spcBef>
                <a:spcPts val="700"/>
              </a:spcBef>
              <a:buClr>
                <a:schemeClr val="tx2"/>
              </a:buClr>
              <a:buFont typeface="Gill Sans MT" panose="020B0502020104020203" pitchFamily="34" charset="0"/>
              <a:buNone/>
              <a:defRPr sz="1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110000"/>
              </a:lnSpc>
              <a:spcBef>
                <a:spcPts val="700"/>
              </a:spcBef>
              <a:buClr>
                <a:schemeClr val="tx2"/>
              </a:buClr>
              <a:buFont typeface="Arial" panose="020B0604020202020204" pitchFamily="34" charset="0"/>
              <a:buNone/>
              <a:defRPr sz="1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110000"/>
              </a:lnSpc>
              <a:spcBef>
                <a:spcPts val="700"/>
              </a:spcBef>
              <a:buClr>
                <a:schemeClr val="tx2"/>
              </a:buClr>
              <a:buFont typeface="Gill Sans MT" panose="020B0502020104020203" pitchFamily="34" charset="0"/>
              <a:buNone/>
              <a:defRPr sz="1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110000"/>
              </a:lnSpc>
              <a:spcBef>
                <a:spcPts val="700"/>
              </a:spcBef>
              <a:buClr>
                <a:schemeClr val="tx2"/>
              </a:buClr>
              <a:buFont typeface="Arial" panose="020B0604020202020204" pitchFamily="34" charset="0"/>
              <a:buNone/>
              <a:defRPr sz="1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110000"/>
              </a:lnSpc>
              <a:spcBef>
                <a:spcPts val="700"/>
              </a:spcBef>
              <a:buClr>
                <a:schemeClr val="tx2"/>
              </a:buClr>
              <a:buFont typeface="Gill Sans MT" panose="020B0502020104020203" pitchFamily="34" charset="0"/>
              <a:buNone/>
              <a:defRPr sz="100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110000"/>
              </a:lnSpc>
              <a:spcBef>
                <a:spcPts val="700"/>
              </a:spcBef>
              <a:buClr>
                <a:schemeClr val="tx2"/>
              </a:buClr>
              <a:buFont typeface="Arial" panose="020B0604020202020204" pitchFamily="34" charset="0"/>
              <a:buNone/>
              <a:defRPr sz="100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en-US" sz="3200" b="1" u="sng" dirty="0" smtClean="0"/>
              <a:t>Signals: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265030" y="2571994"/>
            <a:ext cx="7241457" cy="18928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2800" dirty="0" smtClean="0">
                <a:solidFill>
                  <a:srgbClr val="000000"/>
                </a:solidFill>
              </a:rPr>
              <a:t>E.g. </a:t>
            </a:r>
            <a:r>
              <a:rPr lang="en-US" sz="2800" dirty="0">
                <a:solidFill>
                  <a:srgbClr val="000000"/>
                </a:solidFill>
              </a:rPr>
              <a:t>I </a:t>
            </a:r>
            <a:r>
              <a:rPr lang="en-US" sz="2800" b="1" dirty="0">
                <a:solidFill>
                  <a:srgbClr val="000000"/>
                </a:solidFill>
              </a:rPr>
              <a:t>went out</a:t>
            </a:r>
            <a:r>
              <a:rPr lang="en-US" sz="2800" dirty="0">
                <a:solidFill>
                  <a:srgbClr val="000000"/>
                </a:solidFill>
              </a:rPr>
              <a:t>, </a:t>
            </a:r>
            <a:r>
              <a:rPr lang="en-US" sz="2800" b="1" dirty="0">
                <a:solidFill>
                  <a:srgbClr val="000000"/>
                </a:solidFill>
              </a:rPr>
              <a:t>walke</a:t>
            </a:r>
            <a:r>
              <a:rPr lang="en-US" sz="2800" dirty="0">
                <a:solidFill>
                  <a:srgbClr val="000000"/>
                </a:solidFill>
              </a:rPr>
              <a:t>d to the park, and </a:t>
            </a:r>
            <a:r>
              <a:rPr lang="en-US" sz="2800" b="1" dirty="0">
                <a:solidFill>
                  <a:srgbClr val="000000"/>
                </a:solidFill>
              </a:rPr>
              <a:t>watched</a:t>
            </a:r>
            <a:r>
              <a:rPr lang="en-US" sz="2800" dirty="0">
                <a:solidFill>
                  <a:srgbClr val="000000"/>
                </a:solidFill>
              </a:rPr>
              <a:t> the sky silently.</a:t>
            </a:r>
          </a:p>
          <a:p>
            <a:pPr>
              <a:spcAft>
                <a:spcPts val="600"/>
              </a:spcAft>
            </a:pPr>
            <a:r>
              <a:rPr lang="en-US" sz="2800" dirty="0" smtClean="0">
                <a:solidFill>
                  <a:srgbClr val="000000"/>
                </a:solidFill>
              </a:rPr>
              <a:t>He </a:t>
            </a:r>
            <a:r>
              <a:rPr lang="en-US" sz="2800" b="1" dirty="0">
                <a:solidFill>
                  <a:srgbClr val="000000"/>
                </a:solidFill>
              </a:rPr>
              <a:t>arrived</a:t>
            </a:r>
            <a:r>
              <a:rPr lang="en-US" sz="2800" dirty="0">
                <a:solidFill>
                  <a:srgbClr val="000000"/>
                </a:solidFill>
              </a:rPr>
              <a:t> from the airport at 11:00,</a:t>
            </a:r>
            <a:r>
              <a:rPr lang="en-US" sz="2800" b="1" dirty="0">
                <a:solidFill>
                  <a:srgbClr val="000000"/>
                </a:solidFill>
              </a:rPr>
              <a:t> looked</a:t>
            </a:r>
            <a:r>
              <a:rPr lang="en-US" sz="2800" dirty="0">
                <a:solidFill>
                  <a:srgbClr val="000000"/>
                </a:solidFill>
              </a:rPr>
              <a:t> for someone to ask the way, and </a:t>
            </a:r>
            <a:r>
              <a:rPr lang="en-US" sz="2800" b="1" dirty="0">
                <a:solidFill>
                  <a:srgbClr val="000000"/>
                </a:solidFill>
              </a:rPr>
              <a:t>called </a:t>
            </a:r>
            <a:r>
              <a:rPr lang="en-US" sz="2800" dirty="0">
                <a:solidFill>
                  <a:srgbClr val="000000"/>
                </a:solidFill>
              </a:rPr>
              <a:t>a taxi.</a:t>
            </a:r>
          </a:p>
        </p:txBody>
      </p:sp>
    </p:spTree>
    <p:extLst>
      <p:ext uri="{BB962C8B-B14F-4D97-AF65-F5344CB8AC3E}">
        <p14:creationId xmlns:p14="http://schemas.microsoft.com/office/powerpoint/2010/main" val="4151115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  <p:bldP spid="7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74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25546" y="-1"/>
            <a:ext cx="7607064" cy="68243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1146413" y="1951630"/>
            <a:ext cx="2606721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/>
              <a:t>A dialogue about simple past tense</a:t>
            </a:r>
          </a:p>
          <a:p>
            <a:endParaRPr lang="en-US" sz="4000" dirty="0"/>
          </a:p>
        </p:txBody>
      </p:sp>
    </p:spTree>
    <p:extLst>
      <p:ext uri="{BB962C8B-B14F-4D97-AF65-F5344CB8AC3E}">
        <p14:creationId xmlns:p14="http://schemas.microsoft.com/office/powerpoint/2010/main" val="37657932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091820" y="844238"/>
            <a:ext cx="10112991" cy="60939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en-US" sz="2600" dirty="0">
                <a:solidFill>
                  <a:srgbClr val="000000"/>
                </a:solidFill>
              </a:rPr>
              <a:t>I </a:t>
            </a:r>
            <a:r>
              <a:rPr lang="en-US" sz="2600" dirty="0" smtClean="0">
                <a:solidFill>
                  <a:srgbClr val="000000"/>
                </a:solidFill>
              </a:rPr>
              <a:t>…………. (listen) to </a:t>
            </a:r>
            <a:r>
              <a:rPr lang="en-US" sz="2600" dirty="0">
                <a:solidFill>
                  <a:srgbClr val="000000"/>
                </a:solidFill>
              </a:rPr>
              <a:t>the new pop album yesterday. It’s great.</a:t>
            </a:r>
          </a:p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en-US" sz="2600" dirty="0">
                <a:solidFill>
                  <a:srgbClr val="000000"/>
                </a:solidFill>
              </a:rPr>
              <a:t>She …………. </a:t>
            </a:r>
            <a:r>
              <a:rPr lang="en-US" sz="2600" smtClean="0">
                <a:solidFill>
                  <a:srgbClr val="000000"/>
                </a:solidFill>
              </a:rPr>
              <a:t>(like) </a:t>
            </a:r>
            <a:r>
              <a:rPr lang="en-US" sz="2600" dirty="0" smtClean="0">
                <a:solidFill>
                  <a:srgbClr val="000000"/>
                </a:solidFill>
              </a:rPr>
              <a:t>the </a:t>
            </a:r>
            <a:r>
              <a:rPr lang="en-US" sz="2600" dirty="0">
                <a:solidFill>
                  <a:srgbClr val="000000"/>
                </a:solidFill>
              </a:rPr>
              <a:t>film but she didn’t like the music.</a:t>
            </a:r>
          </a:p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en-US" sz="2600" dirty="0">
                <a:solidFill>
                  <a:srgbClr val="000000"/>
                </a:solidFill>
              </a:rPr>
              <a:t>There …………. </a:t>
            </a:r>
            <a:r>
              <a:rPr lang="en-US" sz="2600" dirty="0" smtClean="0">
                <a:solidFill>
                  <a:srgbClr val="000000"/>
                </a:solidFill>
              </a:rPr>
              <a:t>(be) a </a:t>
            </a:r>
            <a:r>
              <a:rPr lang="en-US" sz="2600" dirty="0">
                <a:solidFill>
                  <a:srgbClr val="000000"/>
                </a:solidFill>
              </a:rPr>
              <a:t>problem with the plug.</a:t>
            </a:r>
          </a:p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en-US" sz="2600" dirty="0">
                <a:solidFill>
                  <a:srgbClr val="000000"/>
                </a:solidFill>
              </a:rPr>
              <a:t>I …………. </a:t>
            </a:r>
            <a:r>
              <a:rPr lang="en-US" sz="2600" dirty="0" smtClean="0">
                <a:solidFill>
                  <a:srgbClr val="000000"/>
                </a:solidFill>
              </a:rPr>
              <a:t>(be) happy </a:t>
            </a:r>
            <a:r>
              <a:rPr lang="en-US" sz="2600" dirty="0">
                <a:solidFill>
                  <a:srgbClr val="000000"/>
                </a:solidFill>
              </a:rPr>
              <a:t>to see her with a smile in her face.</a:t>
            </a:r>
          </a:p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en-US" sz="2600" dirty="0">
                <a:solidFill>
                  <a:srgbClr val="000000"/>
                </a:solidFill>
              </a:rPr>
              <a:t>Her </a:t>
            </a:r>
            <a:r>
              <a:rPr lang="en-US" sz="2600" dirty="0" smtClean="0">
                <a:solidFill>
                  <a:srgbClr val="000000"/>
                </a:solidFill>
              </a:rPr>
              <a:t>parents </a:t>
            </a:r>
            <a:r>
              <a:rPr lang="en-US" sz="2600" dirty="0">
                <a:solidFill>
                  <a:srgbClr val="000000"/>
                </a:solidFill>
              </a:rPr>
              <a:t>…………. </a:t>
            </a:r>
            <a:r>
              <a:rPr lang="en-US" sz="2600" dirty="0" smtClean="0">
                <a:solidFill>
                  <a:srgbClr val="000000"/>
                </a:solidFill>
              </a:rPr>
              <a:t>(travel) by </a:t>
            </a:r>
            <a:r>
              <a:rPr lang="en-US" sz="2600" dirty="0">
                <a:solidFill>
                  <a:srgbClr val="000000"/>
                </a:solidFill>
              </a:rPr>
              <a:t>train from Istanbul to Moscow.</a:t>
            </a:r>
          </a:p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en-US" sz="2600" dirty="0">
                <a:solidFill>
                  <a:srgbClr val="000000"/>
                </a:solidFill>
              </a:rPr>
              <a:t>I …………. </a:t>
            </a:r>
            <a:r>
              <a:rPr lang="en-US" sz="2600" dirty="0" smtClean="0">
                <a:solidFill>
                  <a:srgbClr val="000000"/>
                </a:solidFill>
              </a:rPr>
              <a:t>(phone) you </a:t>
            </a:r>
            <a:r>
              <a:rPr lang="en-US" sz="2600" dirty="0">
                <a:solidFill>
                  <a:srgbClr val="000000"/>
                </a:solidFill>
              </a:rPr>
              <a:t>four times last night but you were out.</a:t>
            </a:r>
          </a:p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en-US" sz="2600" dirty="0">
                <a:solidFill>
                  <a:srgbClr val="000000"/>
                </a:solidFill>
              </a:rPr>
              <a:t>There …………. </a:t>
            </a:r>
            <a:r>
              <a:rPr lang="en-US" sz="2600" dirty="0" smtClean="0">
                <a:solidFill>
                  <a:srgbClr val="000000"/>
                </a:solidFill>
              </a:rPr>
              <a:t>(be) many </a:t>
            </a:r>
            <a:r>
              <a:rPr lang="en-US" sz="2600" dirty="0">
                <a:solidFill>
                  <a:srgbClr val="000000"/>
                </a:solidFill>
              </a:rPr>
              <a:t>workers waiting outside.</a:t>
            </a:r>
          </a:p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en-US" sz="2600" dirty="0">
                <a:solidFill>
                  <a:srgbClr val="000000"/>
                </a:solidFill>
              </a:rPr>
              <a:t>We …………. </a:t>
            </a:r>
            <a:r>
              <a:rPr lang="en-US" sz="2600" dirty="0" smtClean="0">
                <a:solidFill>
                  <a:srgbClr val="000000"/>
                </a:solidFill>
              </a:rPr>
              <a:t>(walk) along </a:t>
            </a:r>
            <a:r>
              <a:rPr lang="en-US" sz="2600" dirty="0">
                <a:solidFill>
                  <a:srgbClr val="000000"/>
                </a:solidFill>
              </a:rPr>
              <a:t>the beach yesterday. It was lovely.</a:t>
            </a:r>
          </a:p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en-US" sz="2600" dirty="0">
                <a:solidFill>
                  <a:srgbClr val="000000"/>
                </a:solidFill>
              </a:rPr>
              <a:t>I …………. </a:t>
            </a:r>
            <a:r>
              <a:rPr lang="en-US" sz="2600" dirty="0" smtClean="0">
                <a:solidFill>
                  <a:srgbClr val="000000"/>
                </a:solidFill>
              </a:rPr>
              <a:t>(have) a </a:t>
            </a:r>
            <a:r>
              <a:rPr lang="en-US" sz="2600" dirty="0">
                <a:solidFill>
                  <a:srgbClr val="000000"/>
                </a:solidFill>
              </a:rPr>
              <a:t>problem. So I asked to my mother about it.</a:t>
            </a:r>
          </a:p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en-US" sz="2600" dirty="0">
                <a:solidFill>
                  <a:srgbClr val="000000"/>
                </a:solidFill>
              </a:rPr>
              <a:t>Last week I …………. </a:t>
            </a:r>
            <a:r>
              <a:rPr lang="en-US" sz="2600" dirty="0" smtClean="0">
                <a:solidFill>
                  <a:srgbClr val="000000"/>
                </a:solidFill>
              </a:rPr>
              <a:t>(be) in </a:t>
            </a:r>
            <a:r>
              <a:rPr lang="en-US" sz="2600" dirty="0">
                <a:solidFill>
                  <a:srgbClr val="000000"/>
                </a:solidFill>
              </a:rPr>
              <a:t>Paris. I stayed in a hotel.</a:t>
            </a:r>
          </a:p>
        </p:txBody>
      </p:sp>
      <p:sp>
        <p:nvSpPr>
          <p:cNvPr id="3" name="Title 1"/>
          <p:cNvSpPr txBox="1">
            <a:spLocks/>
          </p:cNvSpPr>
          <p:nvPr/>
        </p:nvSpPr>
        <p:spPr>
          <a:xfrm>
            <a:off x="1154629" y="-13649"/>
            <a:ext cx="10515600" cy="1055387"/>
          </a:xfrm>
          <a:prstGeom prst="rect">
            <a:avLst/>
          </a:prstGeom>
        </p:spPr>
        <p:txBody>
          <a:bodyPr>
            <a:normAutofit fontScale="77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100" kern="1200" cap="all" spc="20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290513" indent="-290513" algn="just">
              <a:lnSpc>
                <a:spcPct val="170000"/>
              </a:lnSpc>
            </a:pPr>
            <a:r>
              <a:rPr lang="en-US" dirty="0" smtClean="0">
                <a:solidFill>
                  <a:srgbClr val="006698"/>
                </a:solidFill>
                <a:cs typeface="Calibri" panose="020F0502020204030204" pitchFamily="34" charset="0"/>
              </a:rPr>
              <a:t>PRACTICE</a:t>
            </a:r>
            <a:endParaRPr lang="vi-VN" dirty="0">
              <a:solidFill>
                <a:srgbClr val="006698"/>
              </a:solidFill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465229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40000"/>
            <a:lumOff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3"/>
          <p:cNvSpPr>
            <a:spLocks noGrp="1"/>
          </p:cNvSpPr>
          <p:nvPr>
            <p:ph type="title"/>
          </p:nvPr>
        </p:nvSpPr>
        <p:spPr/>
        <p:txBody>
          <a:bodyPr anchor="ctr">
            <a:normAutofit/>
          </a:bodyPr>
          <a:lstStyle/>
          <a:p>
            <a:r>
              <a:rPr lang="en-US" sz="4800" smtClean="0">
                <a:solidFill>
                  <a:schemeClr val="accent6">
                    <a:lumMod val="50000"/>
                  </a:schemeClr>
                </a:solidFill>
              </a:rPr>
              <a:t>Thank you </a:t>
            </a:r>
            <a:br>
              <a:rPr lang="en-US" sz="4800" smtClean="0">
                <a:solidFill>
                  <a:schemeClr val="accent6">
                    <a:lumMod val="50000"/>
                  </a:schemeClr>
                </a:solidFill>
              </a:rPr>
            </a:br>
            <a:r>
              <a:rPr lang="en-US" sz="4800" smtClean="0">
                <a:solidFill>
                  <a:schemeClr val="accent6">
                    <a:lumMod val="50000"/>
                  </a:schemeClr>
                </a:solidFill>
              </a:rPr>
              <a:t>for your attention!</a:t>
            </a:r>
            <a:endParaRPr lang="en-US" sz="4800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6" name="Subtitle 5"/>
          <p:cNvSpPr>
            <a:spLocks noGrp="1"/>
          </p:cNvSpPr>
          <p:nvPr>
            <p:ph type="body" idx="1"/>
          </p:nvPr>
        </p:nvSpPr>
        <p:spPr>
          <a:xfrm>
            <a:off x="3242930" y="4147795"/>
            <a:ext cx="7017488" cy="1963122"/>
          </a:xfrm>
        </p:spPr>
        <p:txBody>
          <a:bodyPr anchor="ctr">
            <a:normAutofit lnSpcReduction="10000"/>
          </a:bodyPr>
          <a:lstStyle/>
          <a:p>
            <a:pPr lvl="0"/>
            <a:r>
              <a:rPr lang="en-US">
                <a:solidFill>
                  <a:schemeClr val="accent6">
                    <a:lumMod val="75000"/>
                  </a:schemeClr>
                </a:solidFill>
              </a:rPr>
              <a:t>HỌC VIỆN ĐÀO TẠO QUỐC TẾ ANI</a:t>
            </a:r>
          </a:p>
          <a:p>
            <a:pPr lvl="0"/>
            <a:r>
              <a:rPr lang="en-US" cap="none" smtClean="0">
                <a:solidFill>
                  <a:schemeClr val="accent6">
                    <a:lumMod val="75000"/>
                  </a:schemeClr>
                </a:solidFill>
              </a:rPr>
              <a:t>103D Trường Chinh, Thành Phố Huế  </a:t>
            </a:r>
          </a:p>
          <a:p>
            <a:pPr lvl="0"/>
            <a:r>
              <a:rPr lang="en-US" cap="none" smtClean="0">
                <a:solidFill>
                  <a:schemeClr val="accent6">
                    <a:lumMod val="75000"/>
                  </a:schemeClr>
                </a:solidFill>
              </a:rPr>
              <a:t>Http://www.ani.edu.vn  </a:t>
            </a:r>
          </a:p>
          <a:p>
            <a:pPr lvl="0"/>
            <a:r>
              <a:rPr lang="en-US" cap="none" smtClean="0">
                <a:solidFill>
                  <a:schemeClr val="accent6">
                    <a:lumMod val="75000"/>
                  </a:schemeClr>
                </a:solidFill>
              </a:rPr>
              <a:t>S</a:t>
            </a:r>
            <a:r>
              <a:rPr lang="en-GB" cap="none" smtClean="0">
                <a:solidFill>
                  <a:schemeClr val="accent6">
                    <a:lumMod val="75000"/>
                  </a:schemeClr>
                </a:solidFill>
              </a:rPr>
              <a:t>upport@ani.edu.vn </a:t>
            </a:r>
          </a:p>
          <a:p>
            <a:pPr lvl="0"/>
            <a:r>
              <a:rPr lang="en-GB" cap="none" smtClean="0">
                <a:solidFill>
                  <a:schemeClr val="accent6">
                    <a:lumMod val="75000"/>
                  </a:schemeClr>
                </a:solidFill>
              </a:rPr>
              <a:t>(84)0234.3627999</a:t>
            </a:r>
            <a:endParaRPr lang="en-US" cap="none">
              <a:solidFill>
                <a:schemeClr val="accent6">
                  <a:lumMod val="75000"/>
                </a:schemeClr>
              </a:solidFill>
            </a:endParaRPr>
          </a:p>
        </p:txBody>
      </p:sp>
      <p:pic>
        <p:nvPicPr>
          <p:cNvPr id="4" name="Hình ảnh 14">
            <a:extLst>
              <a:ext uri="{FF2B5EF4-FFF2-40B4-BE49-F238E27FC236}">
                <a16:creationId xmlns:a16="http://schemas.microsoft.com/office/drawing/2014/main" id="{21DAF3B5-398A-44FF-8033-5661661FFDC3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4976"/>
          <a:stretch/>
        </p:blipFill>
        <p:spPr>
          <a:xfrm>
            <a:off x="120169" y="2588181"/>
            <a:ext cx="1828208" cy="137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61274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1633" y="1654411"/>
            <a:ext cx="4162425" cy="2800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89270" y="4893147"/>
            <a:ext cx="3867150" cy="923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9373" y="1654411"/>
            <a:ext cx="4133850" cy="2762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" name="Picture 6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08435" y="4893147"/>
            <a:ext cx="3895725" cy="895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Rectangle 5"/>
          <p:cNvSpPr/>
          <p:nvPr/>
        </p:nvSpPr>
        <p:spPr>
          <a:xfrm>
            <a:off x="2295098" y="4931247"/>
            <a:ext cx="323850" cy="4476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7895798" y="4948945"/>
            <a:ext cx="647700" cy="4476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itle 1"/>
          <p:cNvSpPr txBox="1">
            <a:spLocks/>
          </p:cNvSpPr>
          <p:nvPr/>
        </p:nvSpPr>
        <p:spPr>
          <a:xfrm>
            <a:off x="1116107" y="0"/>
            <a:ext cx="10515600" cy="1325563"/>
          </a:xfrm>
          <a:prstGeom prst="rect">
            <a:avLst/>
          </a:prstGeom>
        </p:spPr>
        <p:txBody>
          <a:bodyPr>
            <a:normAutofit fontScale="92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100" kern="1200" cap="all" spc="20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290513" indent="-290513" algn="ctr">
              <a:lnSpc>
                <a:spcPct val="170000"/>
              </a:lnSpc>
            </a:pPr>
            <a:r>
              <a:rPr lang="en-US" dirty="0" smtClean="0">
                <a:solidFill>
                  <a:srgbClr val="006698"/>
                </a:solidFill>
                <a:cs typeface="Calibri" panose="020F0502020204030204" pitchFamily="34" charset="0"/>
              </a:rPr>
              <a:t>FORM: TO BE</a:t>
            </a:r>
            <a:endParaRPr lang="vi-VN" dirty="0">
              <a:solidFill>
                <a:srgbClr val="006698"/>
              </a:solidFill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7724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4099842" y="3490544"/>
            <a:ext cx="5196255" cy="2031325"/>
          </a:xfrm>
          <a:prstGeom prst="rect">
            <a:avLst/>
          </a:prstGeom>
          <a:noFill/>
          <a:ln w="25400"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dirty="0" smtClean="0"/>
              <a:t>(+) S + was/were + O</a:t>
            </a:r>
          </a:p>
          <a:p>
            <a:pPr>
              <a:lnSpc>
                <a:spcPct val="150000"/>
              </a:lnSpc>
            </a:pPr>
            <a:r>
              <a:rPr lang="en-US" sz="2800" dirty="0" smtClean="0"/>
              <a:t>( - ) S + was/were + not + O</a:t>
            </a:r>
          </a:p>
          <a:p>
            <a:pPr>
              <a:lnSpc>
                <a:spcPct val="150000"/>
              </a:lnSpc>
            </a:pPr>
            <a:r>
              <a:rPr lang="en-US" sz="2800" dirty="0" smtClean="0"/>
              <a:t>( ? ) Was/ were + S + O ?</a:t>
            </a:r>
          </a:p>
        </p:txBody>
      </p:sp>
      <p:graphicFrame>
        <p:nvGraphicFramePr>
          <p:cNvPr id="11" name="Table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55573683"/>
              </p:ext>
            </p:extLst>
          </p:nvPr>
        </p:nvGraphicFramePr>
        <p:xfrm>
          <a:off x="2404180" y="1387881"/>
          <a:ext cx="8128000" cy="1828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400" dirty="0" smtClean="0"/>
                        <a:t>PRESENT SIMPLE</a:t>
                      </a:r>
                      <a:endParaRPr lang="vi-VN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 smtClean="0"/>
                        <a:t>PAST</a:t>
                      </a:r>
                      <a:r>
                        <a:rPr lang="en-US" sz="2400" baseline="0" dirty="0" smtClean="0"/>
                        <a:t> SIMPLE</a:t>
                      </a:r>
                      <a:endParaRPr lang="vi-VN" sz="2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2400" dirty="0" smtClean="0"/>
                        <a:t>She</a:t>
                      </a:r>
                      <a:r>
                        <a:rPr lang="en-US" sz="2400" baseline="0" dirty="0" smtClean="0"/>
                        <a:t> is a student</a:t>
                      </a:r>
                      <a:endParaRPr lang="vi-VN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400" dirty="0" smtClean="0"/>
                        <a:t>She was</a:t>
                      </a:r>
                      <a:r>
                        <a:rPr lang="en-US" sz="2400" baseline="0" dirty="0" smtClean="0"/>
                        <a:t> a student</a:t>
                      </a:r>
                      <a:endParaRPr lang="vi-VN" sz="2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2400" dirty="0" smtClean="0"/>
                        <a:t>She</a:t>
                      </a:r>
                      <a:r>
                        <a:rPr lang="en-US" sz="2400" baseline="0" dirty="0" smtClean="0"/>
                        <a:t> is not a student</a:t>
                      </a:r>
                      <a:endParaRPr lang="vi-VN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400" dirty="0" smtClean="0"/>
                        <a:t>She was</a:t>
                      </a:r>
                      <a:r>
                        <a:rPr lang="en-US" sz="2400" baseline="0" dirty="0" smtClean="0"/>
                        <a:t> not a student</a:t>
                      </a:r>
                      <a:endParaRPr lang="vi-VN" sz="2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2400" dirty="0" smtClean="0"/>
                        <a:t>Is</a:t>
                      </a:r>
                      <a:r>
                        <a:rPr lang="en-US" sz="2400" baseline="0" dirty="0" smtClean="0"/>
                        <a:t> she a student?</a:t>
                      </a:r>
                      <a:endParaRPr lang="vi-VN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400" dirty="0" smtClean="0"/>
                        <a:t>Was</a:t>
                      </a:r>
                      <a:r>
                        <a:rPr lang="en-US" sz="2400" baseline="0" dirty="0" smtClean="0"/>
                        <a:t> she a student?</a:t>
                      </a:r>
                      <a:endParaRPr lang="vi-VN" sz="2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2404180" y="5706208"/>
            <a:ext cx="7939453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dirty="0" smtClean="0"/>
              <a:t>Am/is </a:t>
            </a:r>
            <a:r>
              <a:rPr lang="en-US" sz="2800" dirty="0" smtClean="0">
                <a:sym typeface="Wingdings" pitchFamily="2" charset="2"/>
              </a:rPr>
              <a:t> was</a:t>
            </a:r>
          </a:p>
          <a:p>
            <a:pPr algn="ctr"/>
            <a:r>
              <a:rPr lang="en-US" sz="2800" dirty="0" smtClean="0">
                <a:sym typeface="Wingdings" pitchFamily="2" charset="2"/>
              </a:rPr>
              <a:t>Are  Were</a:t>
            </a:r>
            <a:endParaRPr lang="vi-VN" sz="2800" dirty="0"/>
          </a:p>
        </p:txBody>
      </p:sp>
      <p:sp>
        <p:nvSpPr>
          <p:cNvPr id="13" name="Pentagon 12"/>
          <p:cNvSpPr/>
          <p:nvPr/>
        </p:nvSpPr>
        <p:spPr>
          <a:xfrm>
            <a:off x="984738" y="87923"/>
            <a:ext cx="1573824" cy="574858"/>
          </a:xfrm>
          <a:prstGeom prst="homePlat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 smtClean="0"/>
              <a:t>I. FORM</a:t>
            </a:r>
            <a:endParaRPr lang="vi-VN" sz="2400" b="1" dirty="0"/>
          </a:p>
        </p:txBody>
      </p:sp>
      <p:sp>
        <p:nvSpPr>
          <p:cNvPr id="14" name="TextBox 13"/>
          <p:cNvSpPr txBox="1"/>
          <p:nvPr/>
        </p:nvSpPr>
        <p:spPr>
          <a:xfrm>
            <a:off x="984738" y="662781"/>
            <a:ext cx="230358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 smtClean="0"/>
              <a:t>1. To be</a:t>
            </a:r>
            <a:endParaRPr lang="vi-VN" sz="2800" b="1" dirty="0"/>
          </a:p>
        </p:txBody>
      </p:sp>
    </p:spTree>
    <p:extLst>
      <p:ext uri="{BB962C8B-B14F-4D97-AF65-F5344CB8AC3E}">
        <p14:creationId xmlns:p14="http://schemas.microsoft.com/office/powerpoint/2010/main" val="20620785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2"/>
          <p:cNvSpPr txBox="1">
            <a:spLocks/>
          </p:cNvSpPr>
          <p:nvPr/>
        </p:nvSpPr>
        <p:spPr>
          <a:xfrm>
            <a:off x="848758" y="1041738"/>
            <a:ext cx="11127342" cy="5066369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110000"/>
              </a:lnSpc>
              <a:spcBef>
                <a:spcPts val="7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700"/>
              </a:spcBef>
              <a:buClr>
                <a:schemeClr val="tx2"/>
              </a:buClr>
              <a:buFont typeface="Gill Sans MT" panose="020B0502020104020203" pitchFamily="34" charset="0"/>
              <a:buChar char="–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7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700"/>
              </a:spcBef>
              <a:buClr>
                <a:schemeClr val="tx2"/>
              </a:buClr>
              <a:buFont typeface="Gill Sans MT" panose="020B0502020104020203" pitchFamily="34" charset="0"/>
              <a:buChar char="–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7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110000"/>
              </a:lnSpc>
              <a:spcBef>
                <a:spcPts val="700"/>
              </a:spcBef>
              <a:buClr>
                <a:schemeClr val="tx2"/>
              </a:buClr>
              <a:buFont typeface="Gill Sans MT" panose="020B0502020104020203" pitchFamily="34" charset="0"/>
              <a:buChar char="–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110000"/>
              </a:lnSpc>
              <a:spcBef>
                <a:spcPts val="7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110000"/>
              </a:lnSpc>
              <a:spcBef>
                <a:spcPts val="700"/>
              </a:spcBef>
              <a:buClr>
                <a:schemeClr val="tx2"/>
              </a:buClr>
              <a:buFont typeface="Gill Sans MT" panose="020B0502020104020203" pitchFamily="34" charset="0"/>
              <a:buChar char="–"/>
              <a:defRPr sz="140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110000"/>
              </a:lnSpc>
              <a:spcBef>
                <a:spcPts val="7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  <a:spcBef>
                <a:spcPts val="0"/>
              </a:spcBef>
              <a:defRPr/>
            </a:pPr>
            <a:r>
              <a:rPr lang="en-US" sz="3200" dirty="0" smtClean="0">
                <a:solidFill>
                  <a:schemeClr val="tx1"/>
                </a:solidFill>
              </a:rPr>
              <a:t>My computer …………… (be) broken yesterday</a:t>
            </a:r>
          </a:p>
          <a:p>
            <a:pPr>
              <a:lnSpc>
                <a:spcPct val="150000"/>
              </a:lnSpc>
              <a:spcBef>
                <a:spcPts val="0"/>
              </a:spcBef>
              <a:defRPr/>
            </a:pPr>
            <a:r>
              <a:rPr lang="en-US" sz="3200" dirty="0" smtClean="0">
                <a:solidFill>
                  <a:schemeClr val="tx1"/>
                </a:solidFill>
              </a:rPr>
              <a:t>They …………… (not be) excited about the film last night </a:t>
            </a:r>
          </a:p>
          <a:p>
            <a:pPr>
              <a:lnSpc>
                <a:spcPct val="150000"/>
              </a:lnSpc>
              <a:spcBef>
                <a:spcPts val="0"/>
              </a:spcBef>
              <a:defRPr/>
            </a:pPr>
            <a:r>
              <a:rPr lang="en-US" sz="3200" dirty="0" smtClean="0">
                <a:solidFill>
                  <a:schemeClr val="tx1"/>
                </a:solidFill>
              </a:rPr>
              <a:t>…………… (be) she tired of hearing her customer’s complaint yesterday?</a:t>
            </a:r>
          </a:p>
          <a:p>
            <a:pPr>
              <a:lnSpc>
                <a:spcPct val="150000"/>
              </a:lnSpc>
              <a:spcBef>
                <a:spcPts val="0"/>
              </a:spcBef>
              <a:defRPr/>
            </a:pPr>
            <a:r>
              <a:rPr lang="en-US" sz="3200" dirty="0" smtClean="0">
                <a:solidFill>
                  <a:schemeClr val="tx1"/>
                </a:solidFill>
              </a:rPr>
              <a:t>They …………… (be) in London on their summer holiday last year</a:t>
            </a:r>
          </a:p>
          <a:p>
            <a:pPr>
              <a:lnSpc>
                <a:spcPct val="150000"/>
              </a:lnSpc>
              <a:spcBef>
                <a:spcPts val="0"/>
              </a:spcBef>
              <a:defRPr/>
            </a:pPr>
            <a:r>
              <a:rPr lang="en-US" sz="3200" dirty="0" smtClean="0">
                <a:solidFill>
                  <a:schemeClr val="tx1"/>
                </a:solidFill>
              </a:rPr>
              <a:t>The girl …………… (be not) very happy last night because of having lost money</a:t>
            </a:r>
            <a:endParaRPr lang="en-US" sz="3200" dirty="0">
              <a:solidFill>
                <a:schemeClr val="tx1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733800" y="1123950"/>
            <a:ext cx="12192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dirty="0" smtClean="0">
                <a:solidFill>
                  <a:srgbClr val="FF0000"/>
                </a:solidFill>
              </a:rPr>
              <a:t>was</a:t>
            </a:r>
            <a:endParaRPr lang="en-US" sz="3200" dirty="0">
              <a:solidFill>
                <a:srgbClr val="FF0000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2240820" y="1861125"/>
            <a:ext cx="164395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dirty="0" smtClean="0">
                <a:solidFill>
                  <a:srgbClr val="FF0000"/>
                </a:solidFill>
              </a:rPr>
              <a:t>weren’t</a:t>
            </a:r>
            <a:endParaRPr lang="en-US" sz="3200" dirty="0">
              <a:solidFill>
                <a:srgbClr val="FF0000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418842" y="2598300"/>
            <a:ext cx="164395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dirty="0" smtClean="0">
                <a:solidFill>
                  <a:srgbClr val="FF0000"/>
                </a:solidFill>
              </a:rPr>
              <a:t>Was </a:t>
            </a:r>
            <a:endParaRPr lang="en-US" sz="3200" dirty="0">
              <a:solidFill>
                <a:srgbClr val="FF0000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449790" y="4070925"/>
            <a:ext cx="164395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dirty="0" smtClean="0">
                <a:solidFill>
                  <a:srgbClr val="FF0000"/>
                </a:solidFill>
              </a:rPr>
              <a:t>were</a:t>
            </a:r>
            <a:endParaRPr lang="en-US" sz="3200" dirty="0">
              <a:solidFill>
                <a:srgbClr val="FF0000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2698020" y="4807525"/>
            <a:ext cx="164395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dirty="0" smtClean="0">
                <a:solidFill>
                  <a:srgbClr val="FF0000"/>
                </a:solidFill>
              </a:rPr>
              <a:t>wasn’t</a:t>
            </a:r>
            <a:endParaRPr lang="en-US" sz="3200" dirty="0">
              <a:solidFill>
                <a:srgbClr val="FF0000"/>
              </a:solidFill>
            </a:endParaRPr>
          </a:p>
        </p:txBody>
      </p:sp>
      <p:sp>
        <p:nvSpPr>
          <p:cNvPr id="8" name="Title 1"/>
          <p:cNvSpPr txBox="1">
            <a:spLocks/>
          </p:cNvSpPr>
          <p:nvPr/>
        </p:nvSpPr>
        <p:spPr>
          <a:xfrm>
            <a:off x="1154629" y="-13649"/>
            <a:ext cx="10515600" cy="1055387"/>
          </a:xfrm>
          <a:prstGeom prst="rect">
            <a:avLst/>
          </a:prstGeom>
        </p:spPr>
        <p:txBody>
          <a:bodyPr>
            <a:normAutofit fontScale="77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100" kern="1200" cap="all" spc="20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290513" indent="-290513" algn="just">
              <a:lnSpc>
                <a:spcPct val="170000"/>
              </a:lnSpc>
            </a:pPr>
            <a:r>
              <a:rPr lang="en-US" dirty="0" smtClean="0">
                <a:solidFill>
                  <a:srgbClr val="006698"/>
                </a:solidFill>
                <a:cs typeface="Calibri" panose="020F0502020204030204" pitchFamily="34" charset="0"/>
              </a:rPr>
              <a:t>PRACTICE</a:t>
            </a:r>
            <a:endParaRPr lang="vi-VN" dirty="0">
              <a:solidFill>
                <a:srgbClr val="006698"/>
              </a:solidFill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416657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4" grpId="0"/>
      <p:bldP spid="5" grpId="0"/>
      <p:bldP spid="6" grpId="0"/>
      <p:bldP spid="7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3865" y="1765205"/>
            <a:ext cx="4238625" cy="2628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13750" y="1765205"/>
            <a:ext cx="4410075" cy="2609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54328" y="4905280"/>
            <a:ext cx="4457700" cy="895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" name="Picture 5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37488" y="4905280"/>
            <a:ext cx="5562600" cy="895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Rectangle 5"/>
          <p:cNvSpPr/>
          <p:nvPr/>
        </p:nvSpPr>
        <p:spPr>
          <a:xfrm>
            <a:off x="1930589" y="5007351"/>
            <a:ext cx="869221" cy="4476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7201090" y="4953847"/>
            <a:ext cx="1117600" cy="4476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itle 1"/>
          <p:cNvSpPr txBox="1">
            <a:spLocks/>
          </p:cNvSpPr>
          <p:nvPr/>
        </p:nvSpPr>
        <p:spPr>
          <a:xfrm>
            <a:off x="1079688" y="11633"/>
            <a:ext cx="10515600" cy="1325563"/>
          </a:xfrm>
          <a:prstGeom prst="rect">
            <a:avLst/>
          </a:prstGeom>
        </p:spPr>
        <p:txBody>
          <a:bodyPr>
            <a:normAutofit fontScale="92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100" kern="1200" cap="all" spc="20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290513" indent="-290513" algn="ctr">
              <a:lnSpc>
                <a:spcPct val="170000"/>
              </a:lnSpc>
            </a:pPr>
            <a:r>
              <a:rPr lang="en-US" dirty="0" smtClean="0">
                <a:solidFill>
                  <a:srgbClr val="006698"/>
                </a:solidFill>
                <a:cs typeface="Calibri" panose="020F0502020204030204" pitchFamily="34" charset="0"/>
              </a:rPr>
              <a:t>FORM: VERBS</a:t>
            </a:r>
            <a:endParaRPr lang="vi-VN" dirty="0">
              <a:solidFill>
                <a:srgbClr val="006698"/>
              </a:solidFill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328654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4099842" y="3490544"/>
            <a:ext cx="5196255" cy="2031325"/>
          </a:xfrm>
          <a:prstGeom prst="rect">
            <a:avLst/>
          </a:prstGeom>
          <a:noFill/>
          <a:ln w="25400"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dirty="0" smtClean="0"/>
              <a:t>(+) S + V2/</a:t>
            </a:r>
            <a:r>
              <a:rPr lang="en-US" sz="2800" dirty="0" err="1" smtClean="0"/>
              <a:t>ed</a:t>
            </a:r>
            <a:r>
              <a:rPr lang="en-US" sz="2800" dirty="0" smtClean="0"/>
              <a:t> + O</a:t>
            </a:r>
          </a:p>
          <a:p>
            <a:pPr>
              <a:lnSpc>
                <a:spcPct val="150000"/>
              </a:lnSpc>
            </a:pPr>
            <a:r>
              <a:rPr lang="en-US" sz="2800" dirty="0" smtClean="0"/>
              <a:t>( - ) S + didn’t + V + O</a:t>
            </a:r>
          </a:p>
          <a:p>
            <a:pPr>
              <a:lnSpc>
                <a:spcPct val="150000"/>
              </a:lnSpc>
            </a:pPr>
            <a:r>
              <a:rPr lang="en-US" sz="2800" dirty="0" smtClean="0"/>
              <a:t>( ? ) Did + S + V + O ?</a:t>
            </a:r>
          </a:p>
        </p:txBody>
      </p:sp>
      <p:graphicFrame>
        <p:nvGraphicFramePr>
          <p:cNvPr id="11" name="Table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59691052"/>
              </p:ext>
            </p:extLst>
          </p:nvPr>
        </p:nvGraphicFramePr>
        <p:xfrm>
          <a:off x="2404180" y="1387881"/>
          <a:ext cx="8128000" cy="1828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400" dirty="0" smtClean="0"/>
                        <a:t>PRESENT SIMPLE</a:t>
                      </a:r>
                      <a:endParaRPr lang="vi-VN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 smtClean="0"/>
                        <a:t>PAST</a:t>
                      </a:r>
                      <a:r>
                        <a:rPr lang="en-US" sz="2400" baseline="0" dirty="0" smtClean="0"/>
                        <a:t> SIMPLE</a:t>
                      </a:r>
                      <a:endParaRPr lang="vi-VN" sz="2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2400" dirty="0" smtClean="0"/>
                        <a:t>He </a:t>
                      </a:r>
                      <a:r>
                        <a:rPr lang="en-US" sz="2400" b="1" dirty="0" smtClean="0"/>
                        <a:t>plays</a:t>
                      </a:r>
                      <a:r>
                        <a:rPr lang="en-US" sz="2400" baseline="0" dirty="0" smtClean="0"/>
                        <a:t> football</a:t>
                      </a:r>
                      <a:endParaRPr lang="vi-VN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400" dirty="0" smtClean="0"/>
                        <a:t>He </a:t>
                      </a:r>
                      <a:r>
                        <a:rPr lang="en-US" sz="2400" b="1" dirty="0" smtClean="0"/>
                        <a:t>played</a:t>
                      </a:r>
                      <a:r>
                        <a:rPr lang="en-US" sz="2400" dirty="0" smtClean="0"/>
                        <a:t> football</a:t>
                      </a:r>
                      <a:endParaRPr lang="vi-VN" sz="2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2400" dirty="0" smtClean="0"/>
                        <a:t>He </a:t>
                      </a:r>
                      <a:r>
                        <a:rPr lang="en-US" sz="2400" b="1" dirty="0" smtClean="0"/>
                        <a:t>does</a:t>
                      </a:r>
                      <a:r>
                        <a:rPr lang="en-US" sz="2400" b="1" baseline="0" dirty="0" smtClean="0"/>
                        <a:t>n’t</a:t>
                      </a:r>
                      <a:r>
                        <a:rPr lang="en-US" sz="2400" baseline="0" dirty="0" smtClean="0"/>
                        <a:t> play football</a:t>
                      </a:r>
                      <a:endParaRPr lang="vi-VN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400" dirty="0" smtClean="0"/>
                        <a:t>He </a:t>
                      </a:r>
                      <a:r>
                        <a:rPr lang="en-US" sz="2400" b="1" dirty="0" smtClean="0"/>
                        <a:t>didn’t</a:t>
                      </a:r>
                      <a:r>
                        <a:rPr lang="en-US" sz="2400" dirty="0" smtClean="0"/>
                        <a:t> play</a:t>
                      </a:r>
                      <a:r>
                        <a:rPr lang="en-US" sz="2400" baseline="0" dirty="0" smtClean="0"/>
                        <a:t> football</a:t>
                      </a:r>
                      <a:endParaRPr lang="vi-VN" sz="2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2400" b="1" dirty="0" smtClean="0"/>
                        <a:t>Does</a:t>
                      </a:r>
                      <a:r>
                        <a:rPr lang="en-US" sz="2400" baseline="0" dirty="0" smtClean="0"/>
                        <a:t> he play football?</a:t>
                      </a:r>
                      <a:endParaRPr lang="vi-VN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400" b="1" dirty="0" smtClean="0"/>
                        <a:t>Did</a:t>
                      </a:r>
                      <a:r>
                        <a:rPr lang="en-US" sz="2400" baseline="0" dirty="0" smtClean="0"/>
                        <a:t> he play football?</a:t>
                      </a:r>
                      <a:endParaRPr lang="vi-VN" sz="2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2404180" y="5706208"/>
            <a:ext cx="793945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u="sng" dirty="0" smtClean="0"/>
              <a:t>Note</a:t>
            </a:r>
            <a:r>
              <a:rPr lang="en-US" sz="2400" dirty="0" smtClean="0"/>
              <a:t>: </a:t>
            </a:r>
            <a:r>
              <a:rPr lang="en-US" sz="2400" dirty="0" err="1" smtClean="0"/>
              <a:t>Đối</a:t>
            </a:r>
            <a:r>
              <a:rPr lang="en-US" sz="2400" dirty="0" smtClean="0"/>
              <a:t> </a:t>
            </a:r>
            <a:r>
              <a:rPr lang="en-US" sz="2400" dirty="0" err="1" smtClean="0"/>
              <a:t>với</a:t>
            </a:r>
            <a:r>
              <a:rPr lang="en-US" sz="2400" dirty="0" smtClean="0"/>
              <a:t> </a:t>
            </a:r>
            <a:r>
              <a:rPr lang="en-US" sz="2400" dirty="0" err="1" smtClean="0"/>
              <a:t>thì</a:t>
            </a:r>
            <a:r>
              <a:rPr lang="en-US" sz="2400" dirty="0" smtClean="0"/>
              <a:t> </a:t>
            </a:r>
            <a:r>
              <a:rPr lang="en-US" sz="2400" dirty="0" err="1" smtClean="0"/>
              <a:t>quá</a:t>
            </a:r>
            <a:r>
              <a:rPr lang="en-US" sz="2400" dirty="0" smtClean="0"/>
              <a:t> </a:t>
            </a:r>
            <a:r>
              <a:rPr lang="en-US" sz="2400" dirty="0" err="1" smtClean="0"/>
              <a:t>khứ</a:t>
            </a:r>
            <a:r>
              <a:rPr lang="en-US" sz="2400" dirty="0" smtClean="0"/>
              <a:t> chia </a:t>
            </a:r>
            <a:r>
              <a:rPr lang="en-US" sz="2400" dirty="0" err="1" smtClean="0"/>
              <a:t>với</a:t>
            </a:r>
            <a:r>
              <a:rPr lang="en-US" sz="2400" dirty="0" smtClean="0"/>
              <a:t> </a:t>
            </a:r>
            <a:r>
              <a:rPr lang="en-US" sz="2400" dirty="0" err="1" smtClean="0"/>
              <a:t>động</a:t>
            </a:r>
            <a:r>
              <a:rPr lang="en-US" sz="2400" dirty="0" smtClean="0"/>
              <a:t> </a:t>
            </a:r>
            <a:r>
              <a:rPr lang="en-US" sz="2400" dirty="0" err="1" smtClean="0"/>
              <a:t>từ</a:t>
            </a:r>
            <a:r>
              <a:rPr lang="en-US" sz="2400" dirty="0" smtClean="0"/>
              <a:t> </a:t>
            </a:r>
            <a:r>
              <a:rPr lang="en-US" sz="2400" dirty="0" err="1" smtClean="0"/>
              <a:t>thường</a:t>
            </a:r>
            <a:r>
              <a:rPr lang="en-US" sz="2400" dirty="0" smtClean="0"/>
              <a:t> </a:t>
            </a:r>
            <a:r>
              <a:rPr lang="en-US" sz="2400" dirty="0" err="1" smtClean="0"/>
              <a:t>không</a:t>
            </a:r>
            <a:r>
              <a:rPr lang="en-US" sz="2400" dirty="0" smtClean="0"/>
              <a:t> </a:t>
            </a:r>
            <a:r>
              <a:rPr lang="en-US" sz="2400" dirty="0" err="1" smtClean="0"/>
              <a:t>cần</a:t>
            </a:r>
            <a:r>
              <a:rPr lang="en-US" sz="2400" dirty="0" smtClean="0"/>
              <a:t> </a:t>
            </a:r>
            <a:r>
              <a:rPr lang="en-US" sz="2400" dirty="0" err="1" smtClean="0"/>
              <a:t>phụ</a:t>
            </a:r>
            <a:r>
              <a:rPr lang="en-US" sz="2400" dirty="0" smtClean="0"/>
              <a:t> </a:t>
            </a:r>
            <a:r>
              <a:rPr lang="en-US" sz="2400" dirty="0" err="1" smtClean="0"/>
              <a:t>thuộc</a:t>
            </a:r>
            <a:r>
              <a:rPr lang="en-US" sz="2400" dirty="0" smtClean="0"/>
              <a:t> </a:t>
            </a:r>
            <a:r>
              <a:rPr lang="en-US" sz="2400" dirty="0" err="1" smtClean="0"/>
              <a:t>vào</a:t>
            </a:r>
            <a:r>
              <a:rPr lang="en-US" sz="2400" dirty="0" smtClean="0"/>
              <a:t> </a:t>
            </a:r>
            <a:r>
              <a:rPr lang="en-US" sz="2400" dirty="0" err="1" smtClean="0"/>
              <a:t>số</a:t>
            </a:r>
            <a:r>
              <a:rPr lang="en-US" sz="2400" dirty="0" smtClean="0"/>
              <a:t> </a:t>
            </a:r>
            <a:r>
              <a:rPr lang="en-US" sz="2400" dirty="0" err="1" smtClean="0"/>
              <a:t>ít</a:t>
            </a:r>
            <a:r>
              <a:rPr lang="en-US" sz="2400" dirty="0" smtClean="0"/>
              <a:t> </a:t>
            </a:r>
            <a:r>
              <a:rPr lang="en-US" sz="2400" dirty="0" err="1" smtClean="0"/>
              <a:t>và</a:t>
            </a:r>
            <a:r>
              <a:rPr lang="en-US" sz="2400" dirty="0" smtClean="0"/>
              <a:t> </a:t>
            </a:r>
            <a:r>
              <a:rPr lang="en-US" sz="2400" dirty="0" err="1" smtClean="0"/>
              <a:t>số</a:t>
            </a:r>
            <a:r>
              <a:rPr lang="en-US" sz="2400" dirty="0" smtClean="0"/>
              <a:t> </a:t>
            </a:r>
            <a:r>
              <a:rPr lang="en-US" sz="2400" dirty="0" err="1" smtClean="0"/>
              <a:t>nhiều</a:t>
            </a:r>
            <a:r>
              <a:rPr lang="en-US" sz="2400" dirty="0" smtClean="0"/>
              <a:t> </a:t>
            </a:r>
            <a:r>
              <a:rPr lang="en-US" sz="2400" dirty="0" err="1" smtClean="0"/>
              <a:t>của</a:t>
            </a:r>
            <a:r>
              <a:rPr lang="en-US" sz="2400" dirty="0" smtClean="0"/>
              <a:t> S</a:t>
            </a:r>
            <a:endParaRPr lang="vi-VN" sz="2400" dirty="0"/>
          </a:p>
        </p:txBody>
      </p:sp>
      <p:sp>
        <p:nvSpPr>
          <p:cNvPr id="13" name="Pentagon 12"/>
          <p:cNvSpPr/>
          <p:nvPr/>
        </p:nvSpPr>
        <p:spPr>
          <a:xfrm>
            <a:off x="984738" y="87923"/>
            <a:ext cx="1573824" cy="574858"/>
          </a:xfrm>
          <a:prstGeom prst="homePlat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 smtClean="0"/>
              <a:t>I. FORM</a:t>
            </a:r>
            <a:endParaRPr lang="vi-VN" sz="2400" b="1" dirty="0"/>
          </a:p>
        </p:txBody>
      </p:sp>
      <p:sp>
        <p:nvSpPr>
          <p:cNvPr id="14" name="TextBox 13"/>
          <p:cNvSpPr txBox="1"/>
          <p:nvPr/>
        </p:nvSpPr>
        <p:spPr>
          <a:xfrm>
            <a:off x="984738" y="662781"/>
            <a:ext cx="230358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 smtClean="0"/>
              <a:t>2. Verb</a:t>
            </a:r>
            <a:endParaRPr lang="vi-VN" sz="2800" b="1" dirty="0"/>
          </a:p>
        </p:txBody>
      </p:sp>
    </p:spTree>
    <p:extLst>
      <p:ext uri="{BB962C8B-B14F-4D97-AF65-F5344CB8AC3E}">
        <p14:creationId xmlns:p14="http://schemas.microsoft.com/office/powerpoint/2010/main" val="16346697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/>
          <p:cNvSpPr txBox="1">
            <a:spLocks/>
          </p:cNvSpPr>
          <p:nvPr/>
        </p:nvSpPr>
        <p:spPr>
          <a:xfrm>
            <a:off x="1119526" y="1041737"/>
            <a:ext cx="10541226" cy="5066369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110000"/>
              </a:lnSpc>
              <a:spcBef>
                <a:spcPts val="7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700"/>
              </a:spcBef>
              <a:buClr>
                <a:schemeClr val="tx2"/>
              </a:buClr>
              <a:buFont typeface="Gill Sans MT" panose="020B0502020104020203" pitchFamily="34" charset="0"/>
              <a:buChar char="–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7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700"/>
              </a:spcBef>
              <a:buClr>
                <a:schemeClr val="tx2"/>
              </a:buClr>
              <a:buFont typeface="Gill Sans MT" panose="020B0502020104020203" pitchFamily="34" charset="0"/>
              <a:buChar char="–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7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110000"/>
              </a:lnSpc>
              <a:spcBef>
                <a:spcPts val="700"/>
              </a:spcBef>
              <a:buClr>
                <a:schemeClr val="tx2"/>
              </a:buClr>
              <a:buFont typeface="Gill Sans MT" panose="020B0502020104020203" pitchFamily="34" charset="0"/>
              <a:buChar char="–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110000"/>
              </a:lnSpc>
              <a:spcBef>
                <a:spcPts val="7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110000"/>
              </a:lnSpc>
              <a:spcBef>
                <a:spcPts val="700"/>
              </a:spcBef>
              <a:buClr>
                <a:schemeClr val="tx2"/>
              </a:buClr>
              <a:buFont typeface="Gill Sans MT" panose="020B0502020104020203" pitchFamily="34" charset="0"/>
              <a:buChar char="–"/>
              <a:defRPr sz="140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110000"/>
              </a:lnSpc>
              <a:spcBef>
                <a:spcPts val="7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40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  <a:spcBef>
                <a:spcPts val="0"/>
              </a:spcBef>
              <a:defRPr/>
            </a:pPr>
            <a:r>
              <a:rPr lang="en-US" sz="3600" dirty="0" smtClean="0">
                <a:solidFill>
                  <a:schemeClr val="tx1"/>
                </a:solidFill>
              </a:rPr>
              <a:t>They …………… (watch) TV late at night yesterday</a:t>
            </a:r>
          </a:p>
          <a:p>
            <a:pPr>
              <a:lnSpc>
                <a:spcPct val="150000"/>
              </a:lnSpc>
              <a:spcBef>
                <a:spcPts val="0"/>
              </a:spcBef>
              <a:defRPr/>
            </a:pPr>
            <a:r>
              <a:rPr lang="en-US" sz="3600" dirty="0" smtClean="0">
                <a:solidFill>
                  <a:schemeClr val="tx1"/>
                </a:solidFill>
              </a:rPr>
              <a:t>I …………… (go) to the fitness class last night</a:t>
            </a:r>
          </a:p>
          <a:p>
            <a:pPr>
              <a:lnSpc>
                <a:spcPct val="150000"/>
              </a:lnSpc>
              <a:spcBef>
                <a:spcPts val="0"/>
              </a:spcBef>
              <a:defRPr/>
            </a:pPr>
            <a:r>
              <a:rPr lang="en-US" sz="3600" dirty="0" smtClean="0">
                <a:solidFill>
                  <a:schemeClr val="tx1"/>
                </a:solidFill>
              </a:rPr>
              <a:t>What …………… you …………… (do) two days ago?</a:t>
            </a:r>
          </a:p>
          <a:p>
            <a:pPr>
              <a:lnSpc>
                <a:spcPct val="150000"/>
              </a:lnSpc>
              <a:spcBef>
                <a:spcPts val="0"/>
              </a:spcBef>
              <a:defRPr/>
            </a:pPr>
            <a:r>
              <a:rPr lang="en-US" sz="3600" dirty="0" smtClean="0">
                <a:solidFill>
                  <a:schemeClr val="tx1"/>
                </a:solidFill>
              </a:rPr>
              <a:t>We ……………  (not see) …………… him at the cinema last night.</a:t>
            </a:r>
          </a:p>
          <a:p>
            <a:pPr>
              <a:lnSpc>
                <a:spcPct val="150000"/>
              </a:lnSpc>
              <a:spcBef>
                <a:spcPts val="0"/>
              </a:spcBef>
              <a:defRPr/>
            </a:pPr>
            <a:r>
              <a:rPr lang="en-US" sz="3600" dirty="0" smtClean="0">
                <a:solidFill>
                  <a:schemeClr val="tx1"/>
                </a:solidFill>
              </a:rPr>
              <a:t>My father …………… (stop) smoking 2 years ago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2734568" y="1244599"/>
            <a:ext cx="17399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dirty="0" smtClean="0">
                <a:solidFill>
                  <a:srgbClr val="FF0000"/>
                </a:solidFill>
              </a:rPr>
              <a:t>watched</a:t>
            </a:r>
            <a:endParaRPr lang="en-US" sz="3200" dirty="0">
              <a:solidFill>
                <a:srgbClr val="FF0000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2017018" y="2044699"/>
            <a:ext cx="17399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dirty="0" smtClean="0">
                <a:solidFill>
                  <a:srgbClr val="FF0000"/>
                </a:solidFill>
              </a:rPr>
              <a:t>went</a:t>
            </a:r>
            <a:endParaRPr lang="en-US" sz="3200" dirty="0">
              <a:solidFill>
                <a:srgbClr val="FF0000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2734568" y="2844799"/>
            <a:ext cx="17399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dirty="0" smtClean="0">
                <a:solidFill>
                  <a:srgbClr val="FF0000"/>
                </a:solidFill>
              </a:rPr>
              <a:t>did</a:t>
            </a:r>
            <a:endParaRPr lang="en-US" sz="3200" dirty="0">
              <a:solidFill>
                <a:srgbClr val="FF0000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6049268" y="2844798"/>
            <a:ext cx="17399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dirty="0" smtClean="0">
                <a:solidFill>
                  <a:srgbClr val="FF0000"/>
                </a:solidFill>
              </a:rPr>
              <a:t>do</a:t>
            </a:r>
            <a:endParaRPr lang="en-US" sz="3200" dirty="0">
              <a:solidFill>
                <a:srgbClr val="FF0000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2442468" y="3657599"/>
            <a:ext cx="17399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dirty="0">
                <a:solidFill>
                  <a:srgbClr val="FF0000"/>
                </a:solidFill>
              </a:rPr>
              <a:t>d</a:t>
            </a:r>
            <a:r>
              <a:rPr lang="en-US" sz="3200" dirty="0" smtClean="0">
                <a:solidFill>
                  <a:srgbClr val="FF0000"/>
                </a:solidFill>
              </a:rPr>
              <a:t>idn’t</a:t>
            </a:r>
            <a:endParaRPr lang="en-US" sz="3200" dirty="0">
              <a:solidFill>
                <a:srgbClr val="FF0000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6660907" y="3657598"/>
            <a:ext cx="17399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dirty="0" smtClean="0">
                <a:solidFill>
                  <a:srgbClr val="FF0000"/>
                </a:solidFill>
              </a:rPr>
              <a:t>see</a:t>
            </a:r>
            <a:endParaRPr lang="en-US" sz="3200" dirty="0">
              <a:solidFill>
                <a:srgbClr val="FF0000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3604518" y="5372099"/>
            <a:ext cx="17399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dirty="0" smtClean="0">
                <a:solidFill>
                  <a:srgbClr val="FF0000"/>
                </a:solidFill>
              </a:rPr>
              <a:t>stopped</a:t>
            </a:r>
            <a:endParaRPr lang="en-US" sz="3200" dirty="0">
              <a:solidFill>
                <a:srgbClr val="FF0000"/>
              </a:solidFill>
            </a:endParaRPr>
          </a:p>
        </p:txBody>
      </p:sp>
      <p:sp>
        <p:nvSpPr>
          <p:cNvPr id="18" name="Title 1"/>
          <p:cNvSpPr txBox="1">
            <a:spLocks/>
          </p:cNvSpPr>
          <p:nvPr/>
        </p:nvSpPr>
        <p:spPr>
          <a:xfrm>
            <a:off x="1154629" y="-13649"/>
            <a:ext cx="10515600" cy="1055387"/>
          </a:xfrm>
          <a:prstGeom prst="rect">
            <a:avLst/>
          </a:prstGeom>
        </p:spPr>
        <p:txBody>
          <a:bodyPr>
            <a:normAutofit fontScale="77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100" kern="1200" cap="all" spc="20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290513" indent="-290513" algn="just">
              <a:lnSpc>
                <a:spcPct val="170000"/>
              </a:lnSpc>
            </a:pPr>
            <a:r>
              <a:rPr lang="en-US" dirty="0" smtClean="0">
                <a:solidFill>
                  <a:srgbClr val="006698"/>
                </a:solidFill>
                <a:cs typeface="Calibri" panose="020F0502020204030204" pitchFamily="34" charset="0"/>
              </a:rPr>
              <a:t>PRACTICE</a:t>
            </a:r>
            <a:endParaRPr lang="vi-VN" dirty="0">
              <a:solidFill>
                <a:srgbClr val="006698"/>
              </a:solidFill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607233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2" grpId="0"/>
      <p:bldP spid="13" grpId="0"/>
      <p:bldP spid="14" grpId="0"/>
      <p:bldP spid="15" grpId="0"/>
      <p:bldP spid="16" grpId="0"/>
      <p:bldP spid="17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1079688" y="11633"/>
            <a:ext cx="10515600" cy="1325563"/>
          </a:xfrm>
          <a:prstGeom prst="rect">
            <a:avLst/>
          </a:prstGeom>
        </p:spPr>
        <p:txBody>
          <a:bodyPr>
            <a:normAutofit fontScale="92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100" kern="1200" cap="all" spc="20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290513" indent="-290513" algn="ctr">
              <a:lnSpc>
                <a:spcPct val="170000"/>
              </a:lnSpc>
            </a:pPr>
            <a:r>
              <a:rPr lang="en-US" u="sng" dirty="0" smtClean="0">
                <a:solidFill>
                  <a:schemeClr val="accent1"/>
                </a:solidFill>
                <a:cs typeface="Calibri" panose="020F0502020204030204" pitchFamily="34" charset="0"/>
              </a:rPr>
              <a:t>FORM</a:t>
            </a:r>
            <a:endParaRPr lang="vi-VN" u="sng" dirty="0">
              <a:solidFill>
                <a:schemeClr val="accent1"/>
              </a:solidFill>
              <a:cs typeface="Calibri" panose="020F0502020204030204" pitchFamily="34" charset="0"/>
            </a:endParaRPr>
          </a:p>
        </p:txBody>
      </p:sp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9675" y="1110800"/>
            <a:ext cx="10715625" cy="540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7252000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63774" y="3064613"/>
            <a:ext cx="1828800" cy="951135"/>
          </a:xfrm>
        </p:spPr>
        <p:txBody>
          <a:bodyPr>
            <a:noAutofit/>
          </a:bodyPr>
          <a:lstStyle/>
          <a:p>
            <a:r>
              <a:rPr lang="en-US" sz="4000" dirty="0" smtClean="0"/>
              <a:t>RULES</a:t>
            </a:r>
            <a:endParaRPr lang="en-US" sz="4000" dirty="0"/>
          </a:p>
        </p:txBody>
      </p:sp>
      <p:pic>
        <p:nvPicPr>
          <p:cNvPr id="34818" name="Picture 2" descr="TOMi.digital - Past Simple Tense-regular Verbs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12420" y="570383"/>
            <a:ext cx="9213065" cy="59395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865003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adge">
  <a:themeElements>
    <a:clrScheme name="Custom 1">
      <a:dk1>
        <a:srgbClr val="001722"/>
      </a:dk1>
      <a:lt1>
        <a:srgbClr val="FFFFFF"/>
      </a:lt1>
      <a:dk2>
        <a:srgbClr val="006599"/>
      </a:dk2>
      <a:lt2>
        <a:srgbClr val="FFFFFF"/>
      </a:lt2>
      <a:accent1>
        <a:srgbClr val="FFC000"/>
      </a:accent1>
      <a:accent2>
        <a:srgbClr val="FDE5A3"/>
      </a:accent2>
      <a:accent3>
        <a:srgbClr val="F5E8D8"/>
      </a:accent3>
      <a:accent4>
        <a:srgbClr val="EC7016"/>
      </a:accent4>
      <a:accent5>
        <a:srgbClr val="E64823"/>
      </a:accent5>
      <a:accent6>
        <a:srgbClr val="735503"/>
      </a:accent6>
      <a:hlink>
        <a:srgbClr val="FEF6E0"/>
      </a:hlink>
      <a:folHlink>
        <a:srgbClr val="FFFFFF"/>
      </a:folHlink>
    </a:clrScheme>
    <a:fontScheme name="Custom 3">
      <a:majorFont>
        <a:latin typeface="UTM Swiss 721 Black Condensed"/>
        <a:ea typeface=""/>
        <a:cs typeface=""/>
      </a:majorFont>
      <a:minorFont>
        <a:latin typeface="UTM Swiss Condensed"/>
        <a:ea typeface=""/>
        <a:cs typeface=""/>
      </a:minorFont>
    </a:fontScheme>
    <a:fmtScheme name="Badge">
      <a:fillStyleLst>
        <a:solidFill>
          <a:schemeClr val="phClr"/>
        </a:solidFill>
        <a:gradFill rotWithShape="1">
          <a:gsLst>
            <a:gs pos="0">
              <a:schemeClr val="phClr">
                <a:tint val="67000"/>
                <a:satMod val="105000"/>
                <a:lumMod val="110000"/>
              </a:schemeClr>
            </a:gs>
            <a:gs pos="50000">
              <a:schemeClr val="phClr">
                <a:tint val="73000"/>
                <a:satMod val="103000"/>
                <a:lumMod val="105000"/>
              </a:schemeClr>
            </a:gs>
            <a:gs pos="100000">
              <a:schemeClr val="phClr">
                <a:tint val="81000"/>
                <a:satMod val="109000"/>
                <a:lumMod val="105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4000"/>
                <a:satMod val="103000"/>
                <a:lumMod val="102000"/>
              </a:schemeClr>
            </a:gs>
            <a:gs pos="50000">
              <a:schemeClr val="phClr">
                <a:shade val="100000"/>
                <a:satMod val="110000"/>
                <a:lumMod val="100000"/>
              </a:schemeClr>
            </a:gs>
            <a:gs pos="100000">
              <a:schemeClr val="phClr">
                <a:shade val="78000"/>
                <a:satMod val="120000"/>
                <a:lumMod val="99000"/>
              </a:schemeClr>
            </a:gs>
          </a:gsLst>
          <a:lin ang="5400000" scaled="0"/>
        </a:gradFill>
      </a:fillStyleLst>
      <a:lnStyleLst>
        <a:ln w="6350" cap="flat" cmpd="sng" algn="in">
          <a:solidFill>
            <a:schemeClr val="phClr"/>
          </a:solidFill>
          <a:prstDash val="solid"/>
        </a:ln>
        <a:ln w="12700" cap="flat" cmpd="sng" algn="in">
          <a:solidFill>
            <a:schemeClr val="phClr"/>
          </a:solidFill>
          <a:prstDash val="solid"/>
        </a:ln>
        <a:ln w="50800" cap="flat" cmpd="sng" algn="in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38100" dist="25400" dir="5400000" algn="ctr" rotWithShape="0">
              <a:srgbClr val="000000">
                <a:alpha val="2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hade val="98000"/>
                <a:satMod val="150000"/>
                <a:lumMod val="102000"/>
              </a:schemeClr>
            </a:gs>
            <a:gs pos="50000">
              <a:schemeClr val="phClr">
                <a:tint val="98000"/>
                <a:shade val="90000"/>
                <a:satMod val="13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adge" id="{71A07785-5930-41D4-9A83-E23602B48E98}" vid="{771EA782-DFA6-45B1-AEA3-661F1715B310}"/>
    </a:ext>
  </a:extLst>
</a:theme>
</file>

<file path=ppt/theme/theme2.xml><?xml version="1.0" encoding="utf-8"?>
<a:theme xmlns:a="http://schemas.openxmlformats.org/drawingml/2006/main" name="1_Badge">
  <a:themeElements>
    <a:clrScheme name="ANI - PARA">
      <a:dk1>
        <a:srgbClr val="006599"/>
      </a:dk1>
      <a:lt1>
        <a:srgbClr val="FFFFFF"/>
      </a:lt1>
      <a:dk2>
        <a:srgbClr val="006599"/>
      </a:dk2>
      <a:lt2>
        <a:srgbClr val="FFFFFF"/>
      </a:lt2>
      <a:accent1>
        <a:srgbClr val="FFC000"/>
      </a:accent1>
      <a:accent2>
        <a:srgbClr val="FDE5A3"/>
      </a:accent2>
      <a:accent3>
        <a:srgbClr val="F5E8D8"/>
      </a:accent3>
      <a:accent4>
        <a:srgbClr val="EC7016"/>
      </a:accent4>
      <a:accent5>
        <a:srgbClr val="E64823"/>
      </a:accent5>
      <a:accent6>
        <a:srgbClr val="735503"/>
      </a:accent6>
      <a:hlink>
        <a:srgbClr val="FEF6E0"/>
      </a:hlink>
      <a:folHlink>
        <a:srgbClr val="FFFFFF"/>
      </a:folHlink>
    </a:clrScheme>
    <a:fontScheme name="Custom 3">
      <a:majorFont>
        <a:latin typeface="UTM Swiss 721 Black Condensed"/>
        <a:ea typeface=""/>
        <a:cs typeface=""/>
      </a:majorFont>
      <a:minorFont>
        <a:latin typeface="UTM Swiss Condensed"/>
        <a:ea typeface=""/>
        <a:cs typeface=""/>
      </a:minorFont>
    </a:fontScheme>
    <a:fmtScheme name="Badge">
      <a:fillStyleLst>
        <a:solidFill>
          <a:schemeClr val="phClr"/>
        </a:solidFill>
        <a:gradFill rotWithShape="1">
          <a:gsLst>
            <a:gs pos="0">
              <a:schemeClr val="phClr">
                <a:tint val="67000"/>
                <a:satMod val="105000"/>
                <a:lumMod val="110000"/>
              </a:schemeClr>
            </a:gs>
            <a:gs pos="50000">
              <a:schemeClr val="phClr">
                <a:tint val="73000"/>
                <a:satMod val="103000"/>
                <a:lumMod val="105000"/>
              </a:schemeClr>
            </a:gs>
            <a:gs pos="100000">
              <a:schemeClr val="phClr">
                <a:tint val="81000"/>
                <a:satMod val="109000"/>
                <a:lumMod val="105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4000"/>
                <a:satMod val="103000"/>
                <a:lumMod val="102000"/>
              </a:schemeClr>
            </a:gs>
            <a:gs pos="50000">
              <a:schemeClr val="phClr">
                <a:shade val="100000"/>
                <a:satMod val="110000"/>
                <a:lumMod val="100000"/>
              </a:schemeClr>
            </a:gs>
            <a:gs pos="100000">
              <a:schemeClr val="phClr">
                <a:shade val="78000"/>
                <a:satMod val="120000"/>
                <a:lumMod val="99000"/>
              </a:schemeClr>
            </a:gs>
          </a:gsLst>
          <a:lin ang="5400000" scaled="0"/>
        </a:gradFill>
      </a:fillStyleLst>
      <a:lnStyleLst>
        <a:ln w="6350" cap="flat" cmpd="sng" algn="in">
          <a:solidFill>
            <a:schemeClr val="phClr"/>
          </a:solidFill>
          <a:prstDash val="solid"/>
        </a:ln>
        <a:ln w="12700" cap="flat" cmpd="sng" algn="in">
          <a:solidFill>
            <a:schemeClr val="phClr"/>
          </a:solidFill>
          <a:prstDash val="solid"/>
        </a:ln>
        <a:ln w="50800" cap="flat" cmpd="sng" algn="in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38100" dist="25400" dir="5400000" algn="ctr" rotWithShape="0">
              <a:srgbClr val="000000">
                <a:alpha val="2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hade val="98000"/>
                <a:satMod val="150000"/>
                <a:lumMod val="102000"/>
              </a:schemeClr>
            </a:gs>
            <a:gs pos="50000">
              <a:schemeClr val="phClr">
                <a:tint val="98000"/>
                <a:shade val="90000"/>
                <a:satMod val="13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adge" id="{71A07785-5930-41D4-9A83-E23602B48E98}" vid="{771EA782-DFA6-45B1-AEA3-661F1715B310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heme ANI 02</Template>
  <TotalTime>2646</TotalTime>
  <Words>828</Words>
  <Application>Microsoft Office PowerPoint</Application>
  <PresentationFormat>Widescreen</PresentationFormat>
  <Paragraphs>176</Paragraphs>
  <Slides>1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6" baseType="lpstr">
      <vt:lpstr>Arial</vt:lpstr>
      <vt:lpstr>Calibri</vt:lpstr>
      <vt:lpstr>Gill Sans MT</vt:lpstr>
      <vt:lpstr>UTM Swiss 721 Black Condensed</vt:lpstr>
      <vt:lpstr>UTM Swiss Condensed</vt:lpstr>
      <vt:lpstr>Wingdings</vt:lpstr>
      <vt:lpstr>Badge</vt:lpstr>
      <vt:lpstr>1_Badg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Usage 1</vt:lpstr>
      <vt:lpstr>Usage 2</vt:lpstr>
      <vt:lpstr>Usage 3</vt:lpstr>
      <vt:lpstr>PowerPoint Presentation</vt:lpstr>
      <vt:lpstr>PowerPoint Presentation</vt:lpstr>
      <vt:lpstr>Thank you  for your attention!</vt:lpstr>
    </vt:vector>
  </TitlesOfParts>
  <Company>3977000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SCUSSING ESSAY</dc:title>
  <dc:creator>PHILONG</dc:creator>
  <cp:lastModifiedBy>ASUS</cp:lastModifiedBy>
  <cp:revision>207</cp:revision>
  <dcterms:created xsi:type="dcterms:W3CDTF">2017-01-10T12:13:54Z</dcterms:created>
  <dcterms:modified xsi:type="dcterms:W3CDTF">2023-03-15T12:42:40Z</dcterms:modified>
</cp:coreProperties>
</file>